
<file path=[Content_Types].xml><?xml version="1.0" encoding="utf-8"?>
<Types xmlns="http://schemas.openxmlformats.org/package/2006/content-types">
  <Default Extension="2yqgaaaaasuvork5cyii=" ContentType="image/2yqgaaaaasuvork5cyii="/>
  <Default Extension="arrdna0ywd+waaaaaelftksuqmcc" ContentType="image/arrdna0ywd+waaaaaelftksuqmcc"/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kp3k+hv58kjpl1xv1u5ajc79o5ppl+phz09+oekd+nbkhoccj2ywaaaabjru5erkjggg==" ContentType="image/kp3k+hv58kjpl1xv1u5ajc79o5ppl+phz09+oekd+nbkhoccj2ywaaaabjru5erkjggg=="/>
  <Default Extension="piemuk+y0ejwpoyjrydkisifhesubigbiitmi67u1c59eslqk16jtmmrvwrxbpo5ut5dngyi9svlgergjct+ye3f6uwglxaq5ttty8hypnx3dfgmqil2ojyc7mlyvrlgi2vt37bvjspdnjsqqqe1hlecroh7pld+3uv2irzkvpevfmemkdxtju2cvuuzdaararip61mc9bgpcbanonulojieqowsm8xrvzkyjaimrwhk+ngi60az9ebnqutyo4" ContentType="image/piemuk+y0ejwpoyjrydkisifhesubigbiitmi67u1c59eslqk16jtmmrvwrxbpo5ut5dngyi9svlgergjct+ye3f6uwglxaq5ttty8hypnx3dfgmqil2ojyc7mlyvrlgi2vt37bvjspdnjsqqqe1hlecroh7pld+3uv2irzkvpevfmemkdxtju2cvuuzdaararip61mc9bgpcbanonulojieqowsm8xrvzkyjaimrwhk+ngi60az9ebnqutyo4fticxtcv2hspa4e9edk3apghu4+zgmdyhmgaaaaasuvork5cyii="/>
  <Default Extension="png" ContentType="image/png"/>
  <Default Extension="rels" ContentType="application/vnd.openxmlformats-package.relationships+xml"/>
  <Default Extension="svg" ContentType="image/svg+xml"/>
  <Default Extension="t6lvpr8utlwaaaaasuvork5cyii=" ContentType="image/t6lvpr8utlwaaaaasuvork5cyii="/>
  <Default Extension="wdp" ContentType="image/vnd.ms-photo"/>
  <Default Extension="xlsx" ContentType="application/vnd.openxmlformats-officedocument.spreadsheetml.sheet"/>
  <Default Extension="xml" ContentType="application/xml"/>
  <Default Extension="zxjd9ggx2612istd2uk2+lq8wxf0j19w9hni9ug5jdjzd4fhbu1x8xrncyaaaaasuvork5cyii=" ContentType="image/zxjd9ggx2612istd2uk2+lq8wxf0j19w9hni9ug5jdjzd4fhbu1x8xrncyaaaaasuvork5cyii=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741" r:id="rId2"/>
    <p:sldMasterId id="2147483757" r:id="rId3"/>
    <p:sldMasterId id="2147483777" r:id="rId4"/>
    <p:sldMasterId id="2147483813" r:id="rId5"/>
    <p:sldMasterId id="2147483839" r:id="rId6"/>
    <p:sldMasterId id="2147483851" r:id="rId7"/>
    <p:sldMasterId id="2147483872" r:id="rId8"/>
  </p:sldMasterIdLst>
  <p:notesMasterIdLst>
    <p:notesMasterId r:id="rId40"/>
  </p:notesMasterIdLst>
  <p:sldIdLst>
    <p:sldId id="1396" r:id="rId9"/>
    <p:sldId id="1365" r:id="rId10"/>
    <p:sldId id="4192" r:id="rId11"/>
    <p:sldId id="4341" r:id="rId12"/>
    <p:sldId id="4350" r:id="rId13"/>
    <p:sldId id="4362" r:id="rId14"/>
    <p:sldId id="1399" r:id="rId15"/>
    <p:sldId id="4363" r:id="rId16"/>
    <p:sldId id="302" r:id="rId17"/>
    <p:sldId id="4360" r:id="rId18"/>
    <p:sldId id="4359" r:id="rId19"/>
    <p:sldId id="4366" r:id="rId20"/>
    <p:sldId id="4361" r:id="rId21"/>
    <p:sldId id="4369" r:id="rId22"/>
    <p:sldId id="4358" r:id="rId23"/>
    <p:sldId id="4364" r:id="rId24"/>
    <p:sldId id="269" r:id="rId25"/>
    <p:sldId id="4355" r:id="rId26"/>
    <p:sldId id="4367" r:id="rId27"/>
    <p:sldId id="4357" r:id="rId28"/>
    <p:sldId id="4356" r:id="rId29"/>
    <p:sldId id="4368" r:id="rId30"/>
    <p:sldId id="4353" r:id="rId31"/>
    <p:sldId id="4365" r:id="rId32"/>
    <p:sldId id="3368" r:id="rId33"/>
    <p:sldId id="257" r:id="rId34"/>
    <p:sldId id="256" r:id="rId35"/>
    <p:sldId id="4174" r:id="rId36"/>
    <p:sldId id="1400" r:id="rId37"/>
    <p:sldId id="1350" r:id="rId38"/>
    <p:sldId id="280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A664"/>
    <a:srgbClr val="FA50E2"/>
    <a:srgbClr val="EAE6E8"/>
    <a:srgbClr val="015457"/>
    <a:srgbClr val="00502A"/>
    <a:srgbClr val="00703A"/>
    <a:srgbClr val="008951"/>
    <a:srgbClr val="00A762"/>
    <a:srgbClr val="59BF90"/>
    <a:srgbClr val="0038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B2CE1E-1904-4873-9014-4B9357F8D274}" v="8" dt="2025-02-19T17:27:41.5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1450" autoAdjust="0"/>
  </p:normalViewPr>
  <p:slideViewPr>
    <p:cSldViewPr snapToGrid="0">
      <p:cViewPr varScale="1">
        <p:scale>
          <a:sx n="76" d="100"/>
          <a:sy n="76" d="100"/>
        </p:scale>
        <p:origin x="85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4159941575158265E-2"/>
          <c:y val="5.8773363272807792E-2"/>
          <c:w val="0.90140520833680404"/>
          <c:h val="0.731942727488941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urs</c:v>
                </c:pt>
              </c:strCache>
            </c:strRef>
          </c:tx>
          <c:spPr>
            <a:solidFill>
              <a:srgbClr val="07985C"/>
            </a:solidFill>
            <a:ln w="25351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9E3-4186-9D32-C9ED55D07B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9E3-4186-9D32-C9ED55D07B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9E3-4186-9D32-C9ED55D07B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9E3-4186-9D32-C9ED55D07B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9E3-4186-9D32-C9ED55D07B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9E3-4186-9D32-C9ED55D07B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9E3-4186-9D32-C9ED55D07B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9E3-4186-9D32-C9ED55D07BEF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Fuel</c:v>
                </c:pt>
                <c:pt idx="1">
                  <c:v>Depreciation</c:v>
                </c:pt>
                <c:pt idx="2">
                  <c:v>Interest</c:v>
                </c:pt>
                <c:pt idx="3">
                  <c:v>Scheduled Maintenance</c:v>
                </c:pt>
                <c:pt idx="4">
                  <c:v>Non-Scheduled Repairs</c:v>
                </c:pt>
                <c:pt idx="5">
                  <c:v>Downtime</c:v>
                </c:pt>
                <c:pt idx="6">
                  <c:v>Administrative</c:v>
                </c:pt>
                <c:pt idx="7">
                  <c:v>Total Taxes</c:v>
                </c:pt>
              </c:strCache>
            </c:strRef>
          </c:cat>
          <c:val>
            <c:numRef>
              <c:f>Sheet1!$B$2:$B$9</c:f>
              <c:numCache>
                <c:formatCode>"$"#,##0</c:formatCode>
                <c:ptCount val="8"/>
                <c:pt idx="0">
                  <c:v>9783</c:v>
                </c:pt>
                <c:pt idx="1">
                  <c:v>36974</c:v>
                </c:pt>
                <c:pt idx="2">
                  <c:v>18499</c:v>
                </c:pt>
                <c:pt idx="3">
                  <c:v>6608</c:v>
                </c:pt>
                <c:pt idx="4">
                  <c:v>0</c:v>
                </c:pt>
                <c:pt idx="5">
                  <c:v>1360</c:v>
                </c:pt>
                <c:pt idx="6">
                  <c:v>5838</c:v>
                </c:pt>
                <c:pt idx="7">
                  <c:v>5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9E3-4186-9D32-C9ED55D07B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heir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A-79E3-4186-9D32-C9ED55D07BEF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C-79E3-4186-9D32-C9ED55D07BEF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E-79E3-4186-9D32-C9ED55D07BEF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0-79E3-4186-9D32-C9ED55D07BEF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2-79E3-4186-9D32-C9ED55D07BEF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4-79E3-4186-9D32-C9ED55D07BEF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6-79E3-4186-9D32-C9ED55D07BEF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8-79E3-4186-9D32-C9ED55D07BEF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Fuel</c:v>
                </c:pt>
                <c:pt idx="1">
                  <c:v>Depreciation</c:v>
                </c:pt>
                <c:pt idx="2">
                  <c:v>Interest</c:v>
                </c:pt>
                <c:pt idx="3">
                  <c:v>Scheduled Maintenance</c:v>
                </c:pt>
                <c:pt idx="4">
                  <c:v>Non-Scheduled Repairs</c:v>
                </c:pt>
                <c:pt idx="5">
                  <c:v>Downtime</c:v>
                </c:pt>
                <c:pt idx="6">
                  <c:v>Administrative</c:v>
                </c:pt>
                <c:pt idx="7">
                  <c:v>Total Taxes</c:v>
                </c:pt>
              </c:strCache>
            </c:strRef>
          </c:cat>
          <c:val>
            <c:numRef>
              <c:f>Sheet1!$C$2:$C$9</c:f>
              <c:numCache>
                <c:formatCode>"$"#,##0</c:formatCode>
                <c:ptCount val="8"/>
                <c:pt idx="0">
                  <c:v>11131</c:v>
                </c:pt>
                <c:pt idx="1">
                  <c:v>36987</c:v>
                </c:pt>
                <c:pt idx="2">
                  <c:v>0</c:v>
                </c:pt>
                <c:pt idx="3">
                  <c:v>3991</c:v>
                </c:pt>
                <c:pt idx="4">
                  <c:v>8731</c:v>
                </c:pt>
                <c:pt idx="5">
                  <c:v>3614</c:v>
                </c:pt>
                <c:pt idx="6">
                  <c:v>2500</c:v>
                </c:pt>
                <c:pt idx="7">
                  <c:v>3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79E3-4186-9D32-C9ED55D07BE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5"/>
        <c:axId val="384467696"/>
        <c:axId val="384468088"/>
      </c:barChart>
      <c:catAx>
        <c:axId val="384467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84468088"/>
        <c:crosses val="autoZero"/>
        <c:auto val="1"/>
        <c:lblAlgn val="ctr"/>
        <c:lblOffset val="100"/>
        <c:noMultiLvlLbl val="0"/>
      </c:catAx>
      <c:valAx>
        <c:axId val="384468088"/>
        <c:scaling>
          <c:orientation val="minMax"/>
          <c:max val="70000"/>
          <c:min val="0"/>
        </c:scaling>
        <c:delete val="0"/>
        <c:axPos val="l"/>
        <c:numFmt formatCode="&quot;$&quot;#,##0" sourceLinked="1"/>
        <c:majorTickMark val="out"/>
        <c:minorTickMark val="none"/>
        <c:tickLblPos val="nextTo"/>
        <c:crossAx val="384467696"/>
        <c:crosses val="autoZero"/>
        <c:crossBetween val="between"/>
        <c:majorUnit val="10000"/>
      </c:valAx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900" b="1">
          <a:solidFill>
            <a:schemeClr val="tx1"/>
          </a:solidFill>
        </a:defRPr>
      </a:pPr>
      <a:endParaRPr lang="en-US"/>
    </a:p>
  </c:txPr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042</cdr:x>
      <cdr:y>0.85691</cdr:y>
    </cdr:from>
    <cdr:to>
      <cdr:x>0.77145</cdr:x>
      <cdr:y>0.96242</cdr:y>
    </cdr:to>
    <cdr:sp macro="" textlink="">
      <cdr:nvSpPr>
        <cdr:cNvPr id="2" name="Conten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729491" y="4047445"/>
          <a:ext cx="4874630" cy="498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lIns="91440" tIns="45720" rIns="91440" bIns="45720" rtlCol="0">
          <a:noAutofit/>
        </a:bodyPr>
        <a:lstStyle xmlns:a="http://schemas.openxmlformats.org/drawingml/2006/main">
          <a:lvl1pPr marL="342900" indent="-3429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32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742950" indent="-28575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–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–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»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>
            <a:lnSpc>
              <a:spcPts val="1200"/>
            </a:lnSpc>
            <a:buNone/>
          </a:pPr>
          <a:endParaRPr lang="en-US" sz="1050" b="1" dirty="0"/>
        </a:p>
      </cdr:txBody>
    </cdr:sp>
  </cdr:relSizeAnchor>
  <cdr:relSizeAnchor xmlns:cdr="http://schemas.openxmlformats.org/drawingml/2006/chartDrawing">
    <cdr:from>
      <cdr:x>0.43554</cdr:x>
      <cdr:y>0.00022</cdr:y>
    </cdr:from>
    <cdr:to>
      <cdr:x>0.62559</cdr:x>
      <cdr:y>0.06559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4244491" y="1067"/>
          <a:ext cx="1852142" cy="320298"/>
        </a:xfrm>
        <a:prstGeom xmlns:a="http://schemas.openxmlformats.org/drawingml/2006/main" prst="rect">
          <a:avLst/>
        </a:prstGeom>
        <a:solidFill xmlns:a="http://schemas.openxmlformats.org/drawingml/2006/main">
          <a:srgbClr val="07985C"/>
        </a:solidFill>
        <a:ln xmlns:a="http://schemas.openxmlformats.org/drawingml/2006/main" w="9525" cap="flat" cmpd="sng" algn="ctr">
          <a:solidFill>
            <a:srgbClr val="009542"/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440" b="1" kern="0" dirty="0">
              <a:solidFill>
                <a:prstClr val="white"/>
              </a:solidFill>
              <a:latin typeface="Calibri"/>
              <a:cs typeface="Arial" panose="020B0604020202020204" pitchFamily="34" charset="0"/>
            </a:rPr>
            <a:t>5 Year Cycle</a:t>
          </a:r>
        </a:p>
      </cdr:txBody>
    </cdr:sp>
  </cdr:relSizeAnchor>
  <cdr:relSizeAnchor xmlns:cdr="http://schemas.openxmlformats.org/drawingml/2006/chartDrawing">
    <cdr:from>
      <cdr:x>0.63801</cdr:x>
      <cdr:y>0.00022</cdr:y>
    </cdr:from>
    <cdr:to>
      <cdr:x>0.84792</cdr:x>
      <cdr:y>0.06468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6217696" y="1068"/>
          <a:ext cx="2045668" cy="315842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>
            <a:lumMod val="50000"/>
          </a:sysClr>
        </a:solidFill>
        <a:ln xmlns:a="http://schemas.openxmlformats.org/drawingml/2006/main" w="9525" cap="flat" cmpd="sng" algn="ctr">
          <a:solidFill>
            <a:sysClr val="window" lastClr="FFFFFF">
              <a:lumMod val="50000"/>
            </a:sysClr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440" b="1" kern="0" dirty="0">
              <a:solidFill>
                <a:prstClr val="white"/>
              </a:solidFill>
              <a:latin typeface="Calibri"/>
              <a:cs typeface="Arial" panose="020B0604020202020204" pitchFamily="34" charset="0"/>
            </a:rPr>
            <a:t>10 Year Cycle</a:t>
          </a:r>
        </a:p>
      </cdr:txBody>
    </cdr:sp>
  </cdr:relSizeAnchor>
  <cdr:relSizeAnchor xmlns:cdr="http://schemas.openxmlformats.org/drawingml/2006/chartDrawing">
    <cdr:from>
      <cdr:x>0.43554</cdr:x>
      <cdr:y>0.06468</cdr:y>
    </cdr:from>
    <cdr:to>
      <cdr:x>0.62559</cdr:x>
      <cdr:y>0.12197</cdr:y>
    </cdr:to>
    <cdr:sp macro="" textlink="">
      <cdr:nvSpPr>
        <cdr:cNvPr id="5" name="Rectangle 4"/>
        <cdr:cNvSpPr/>
      </cdr:nvSpPr>
      <cdr:spPr>
        <a:xfrm xmlns:a="http://schemas.openxmlformats.org/drawingml/2006/main">
          <a:off x="4244491" y="316909"/>
          <a:ext cx="1852142" cy="280661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ap="flat" cmpd="sng" algn="ctr">
          <a:solidFill>
            <a:srgbClr val="009542"/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620" b="1" kern="0" dirty="0">
              <a:solidFill>
                <a:srgbClr val="07985C"/>
              </a:solidFill>
              <a:latin typeface="Calibri"/>
              <a:cs typeface="Arial" panose="020B0604020202020204" pitchFamily="34" charset="0"/>
            </a:rPr>
            <a:t>$85,026</a:t>
          </a:r>
        </a:p>
      </cdr:txBody>
    </cdr:sp>
  </cdr:relSizeAnchor>
  <cdr:relSizeAnchor xmlns:cdr="http://schemas.openxmlformats.org/drawingml/2006/chartDrawing">
    <cdr:from>
      <cdr:x>0.63801</cdr:x>
      <cdr:y>0.06468</cdr:y>
    </cdr:from>
    <cdr:to>
      <cdr:x>0.84792</cdr:x>
      <cdr:y>0.12197</cdr:y>
    </cdr:to>
    <cdr:sp macro="" textlink="">
      <cdr:nvSpPr>
        <cdr:cNvPr id="6" name="Rectangle 5"/>
        <cdr:cNvSpPr/>
      </cdr:nvSpPr>
      <cdr:spPr>
        <a:xfrm xmlns:a="http://schemas.openxmlformats.org/drawingml/2006/main">
          <a:off x="6217696" y="316909"/>
          <a:ext cx="2045666" cy="280661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ap="flat" cmpd="sng" algn="ctr">
          <a:solidFill>
            <a:sysClr val="window" lastClr="FFFFFF">
              <a:lumMod val="50000"/>
            </a:sysClr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620" b="1" kern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Arial" panose="020B0604020202020204" pitchFamily="34" charset="0"/>
            </a:rPr>
            <a:t>$70,734</a:t>
          </a:r>
        </a:p>
      </cdr:txBody>
    </cdr:sp>
  </cdr:relSizeAnchor>
  <cdr:relSizeAnchor xmlns:cdr="http://schemas.openxmlformats.org/drawingml/2006/chartDrawing">
    <cdr:from>
      <cdr:x>0.15795</cdr:x>
      <cdr:y>0.06601</cdr:y>
    </cdr:from>
    <cdr:to>
      <cdr:x>0.42389</cdr:x>
      <cdr:y>0.12047</cdr:y>
    </cdr:to>
    <cdr:sp macro="" textlink="">
      <cdr:nvSpPr>
        <cdr:cNvPr id="7" name="Rectangle 6"/>
        <cdr:cNvSpPr/>
      </cdr:nvSpPr>
      <cdr:spPr>
        <a:xfrm xmlns:a="http://schemas.openxmlformats.org/drawingml/2006/main">
          <a:off x="1539274" y="323411"/>
          <a:ext cx="2591688" cy="266816"/>
        </a:xfrm>
        <a:prstGeom xmlns:a="http://schemas.openxmlformats.org/drawingml/2006/main" prst="rect">
          <a:avLst/>
        </a:prstGeom>
        <a:solidFill xmlns:a="http://schemas.openxmlformats.org/drawingml/2006/main">
          <a:sysClr val="windowText" lastClr="000000"/>
        </a:solidFill>
        <a:ln xmlns:a="http://schemas.openxmlformats.org/drawingml/2006/main" w="9525" cap="flat" cmpd="sng" algn="ctr">
          <a:solidFill>
            <a:sysClr val="windowText" lastClr="000000"/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260" b="1" kern="0" dirty="0">
              <a:solidFill>
                <a:prstClr val="white"/>
              </a:solidFill>
              <a:latin typeface="Calibri"/>
              <a:cs typeface="Arial" panose="020B0604020202020204" pitchFamily="34" charset="0"/>
            </a:rPr>
            <a:t>Cash Outlay (Before Deductions)</a:t>
          </a:r>
        </a:p>
      </cdr:txBody>
    </cdr:sp>
  </cdr:relSizeAnchor>
  <cdr:relSizeAnchor xmlns:cdr="http://schemas.openxmlformats.org/drawingml/2006/chartDrawing">
    <cdr:from>
      <cdr:x>0.43554</cdr:x>
      <cdr:y>0.13079</cdr:y>
    </cdr:from>
    <cdr:to>
      <cdr:x>0.62559</cdr:x>
      <cdr:y>0.18807</cdr:y>
    </cdr:to>
    <cdr:sp macro="" textlink="">
      <cdr:nvSpPr>
        <cdr:cNvPr id="8" name="Rectangle 7"/>
        <cdr:cNvSpPr/>
      </cdr:nvSpPr>
      <cdr:spPr>
        <a:xfrm xmlns:a="http://schemas.openxmlformats.org/drawingml/2006/main">
          <a:off x="4244491" y="640780"/>
          <a:ext cx="1852142" cy="28066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ap="flat" cmpd="sng" algn="ctr">
          <a:solidFill>
            <a:srgbClr val="009542"/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620" b="1" kern="0" dirty="0">
              <a:solidFill>
                <a:srgbClr val="07985C"/>
              </a:solidFill>
              <a:latin typeface="Calibri"/>
              <a:cs typeface="Arial" panose="020B0604020202020204" pitchFamily="34" charset="0"/>
            </a:rPr>
            <a:t>$52,592</a:t>
          </a:r>
        </a:p>
      </cdr:txBody>
    </cdr:sp>
  </cdr:relSizeAnchor>
  <cdr:relSizeAnchor xmlns:cdr="http://schemas.openxmlformats.org/drawingml/2006/chartDrawing">
    <cdr:from>
      <cdr:x>0.63801</cdr:x>
      <cdr:y>0.13079</cdr:y>
    </cdr:from>
    <cdr:to>
      <cdr:x>0.84792</cdr:x>
      <cdr:y>0.18807</cdr:y>
    </cdr:to>
    <cdr:sp macro="" textlink="">
      <cdr:nvSpPr>
        <cdr:cNvPr id="9" name="Rectangle 8"/>
        <cdr:cNvSpPr/>
      </cdr:nvSpPr>
      <cdr:spPr>
        <a:xfrm xmlns:a="http://schemas.openxmlformats.org/drawingml/2006/main">
          <a:off x="6217696" y="640780"/>
          <a:ext cx="2045666" cy="28066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ap="flat" cmpd="sng" algn="ctr">
          <a:solidFill>
            <a:sysClr val="window" lastClr="FFFFFF">
              <a:lumMod val="50000"/>
            </a:sysClr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620" b="1" kern="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Arial" panose="020B0604020202020204" pitchFamily="34" charset="0"/>
            </a:rPr>
            <a:t>$51,191</a:t>
          </a:r>
        </a:p>
      </cdr:txBody>
    </cdr:sp>
  </cdr:relSizeAnchor>
  <cdr:relSizeAnchor xmlns:cdr="http://schemas.openxmlformats.org/drawingml/2006/chartDrawing">
    <cdr:from>
      <cdr:x>0.15795</cdr:x>
      <cdr:y>0.13079</cdr:y>
    </cdr:from>
    <cdr:to>
      <cdr:x>0.42389</cdr:x>
      <cdr:y>0.18807</cdr:y>
    </cdr:to>
    <cdr:sp macro="" textlink="">
      <cdr:nvSpPr>
        <cdr:cNvPr id="10" name="Rectangle 9"/>
        <cdr:cNvSpPr/>
      </cdr:nvSpPr>
      <cdr:spPr>
        <a:xfrm xmlns:a="http://schemas.openxmlformats.org/drawingml/2006/main">
          <a:off x="1539274" y="640780"/>
          <a:ext cx="2591688" cy="28066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Text" lastClr="000000"/>
        </a:solidFill>
        <a:ln xmlns:a="http://schemas.openxmlformats.org/drawingml/2006/main" w="9525" cap="flat" cmpd="sng" algn="ctr">
          <a:solidFill>
            <a:sysClr val="windowText" lastClr="000000"/>
          </a:solidFill>
          <a:prstDash val="solid"/>
        </a:ln>
        <a:effectLst xmlns:a="http://schemas.openxmlformats.org/drawingml/2006/main">
          <a:outerShdw blurRad="63500" dist="63500" dir="2700000" rotWithShape="0">
            <a:srgbClr val="000000">
              <a:alpha val="20000"/>
            </a:srgbClr>
          </a:outerShdw>
        </a:effectLst>
      </cdr:spPr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0949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21898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82848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43797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304746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3656960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4266453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4875947" algn="l" defTabSz="609493" rtl="0" eaLnBrk="1" latinLnBrk="0" hangingPunct="1"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548690">
            <a:defRPr/>
          </a:pPr>
          <a:r>
            <a:rPr lang="en-US" sz="1260" b="1" kern="0" dirty="0">
              <a:solidFill>
                <a:prstClr val="white"/>
              </a:solidFill>
              <a:latin typeface="Calibri"/>
              <a:cs typeface="Arial" panose="020B0604020202020204" pitchFamily="34" charset="0"/>
            </a:rPr>
            <a:t>Net Present Valu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C1F3C-0DD2-4A33-8D89-A66DD24AA82C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A063C5-E922-43B1-8206-43122C3E09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462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E1351-D5D9-7E47-AE0C-2E09F95AA5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58308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E1351-D5D9-7E47-AE0C-2E09F95AA5B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165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E1351-D5D9-7E47-AE0C-2E09F95AA5BB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478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E1351-D5D9-7E47-AE0C-2E09F95AA5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280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E1351-D5D9-7E47-AE0C-2E09F95AA5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6632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E1351-D5D9-7E47-AE0C-2E09F95AA5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020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>
              <a:spcBef>
                <a:spcPts val="0"/>
              </a:spcBef>
              <a:spcAft>
                <a:spcPts val="600"/>
              </a:spcAft>
            </a:pP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43F830-42B7-4F70-9175-D238DC9791B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86985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DE1351-D5D9-7E47-AE0C-2E09F95AA5B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6888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Draft - Review 1.30.2016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9BA0686-36E7-4896-A8D8-E3ABA935606B}" type="datetime1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03095 - Pres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B32854D-848F-014F-BB5E-5A2EF359F3E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449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raft - Review 1.30.2016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3956272-7B77-45A3-82B9-1C9D2D13D691}" type="datetime1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F03095 - Pres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32854D-848F-014F-BB5E-5A2EF359F3E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820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b="0" i="0" dirty="0">
                <a:effectLst/>
              </a:rPr>
              <a:t>A fleet strategy should focus on balancing minimal operational costs with the flexibility and safety required for a growing business. This involves: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b="1" i="0" dirty="0">
                <a:effectLst/>
              </a:rPr>
              <a:t>Cost and Replacement Analysis </a:t>
            </a:r>
            <a:r>
              <a:rPr lang="en-US" sz="1000" b="0" i="0" dirty="0">
                <a:effectLst/>
              </a:rPr>
              <a:t>to determine lowest cost options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b="1" i="0" dirty="0">
                <a:effectLst/>
              </a:rPr>
              <a:t>Annual Fleet Planning Cost Analysis </a:t>
            </a:r>
            <a:r>
              <a:rPr lang="en-US" sz="1000" b="0" i="0" dirty="0">
                <a:effectLst/>
              </a:rPr>
              <a:t>to validate mobility strategy 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000" b="1" i="0" dirty="0">
                <a:effectLst/>
              </a:rPr>
              <a:t>Administrative Structure </a:t>
            </a:r>
            <a:r>
              <a:rPr lang="en-US" sz="1000" b="0" i="0" dirty="0">
                <a:effectLst/>
              </a:rPr>
              <a:t>to ensure consistency and compliance</a:t>
            </a:r>
            <a:endParaRPr lang="en-US" sz="1000" dirty="0"/>
          </a:p>
          <a:p>
            <a:pPr algn="l"/>
            <a:r>
              <a:rPr lang="en-US" sz="1000" b="0" i="0" dirty="0">
                <a:effectLst/>
              </a:rPr>
              <a:t>By aligning with industry best practices, our approach meets diverse mobility needs while minimizing costs. It also offers the adaptability necessary to excel through various business cycles.</a:t>
            </a:r>
          </a:p>
          <a:p>
            <a:pPr algn="l"/>
            <a:r>
              <a:rPr lang="en-US" sz="1000" b="0" i="0" dirty="0">
                <a:effectLst/>
              </a:rPr>
              <a:t>Our process starts with setting data-driven benchmarks to craft an optimal fleet plan. We then establish overarching goals, operational protocols, and performance metrics to support our business forecast and execute the plan effectively.</a:t>
            </a:r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E1351-D5D9-7E47-AE0C-2E09F95AA5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454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41F-F9C2-46ED-B5A4-47276BF9B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E7970-01F9-46A1-A4CC-4390E93FE0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27C80-A28E-472C-A5D7-3FF27FE6F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F4BAA-67AB-4410-A2AA-88F476CBB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80C131-74EB-48F9-B28C-85CB356034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09" t="267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0563277-9906-472B-AB19-CC69CE70884B}"/>
              </a:ext>
            </a:extLst>
          </p:cNvPr>
          <p:cNvSpPr/>
          <p:nvPr userDrawn="1"/>
        </p:nvSpPr>
        <p:spPr>
          <a:xfrm>
            <a:off x="813889" y="1064359"/>
            <a:ext cx="227517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latin typeface="Arial MT Std" panose="020B0402020200020204" pitchFamily="34" charset="0"/>
              </a:rPr>
              <a:t>WELCOME T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B0A653D-B7C8-460C-8161-757D85E1CC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89" y="3429000"/>
            <a:ext cx="2363095" cy="678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BEDEC27-4A6A-4FDD-BC4B-967BC21AE573}"/>
              </a:ext>
            </a:extLst>
          </p:cNvPr>
          <p:cNvSpPr txBox="1"/>
          <p:nvPr userDrawn="1"/>
        </p:nvSpPr>
        <p:spPr>
          <a:xfrm>
            <a:off x="813889" y="1664739"/>
            <a:ext cx="503872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prstClr val="white"/>
                </a:solidFill>
                <a:latin typeface="Arial MT Std Cond" panose="020B0506030403020204" pitchFamily="34" charset="0"/>
              </a:rPr>
              <a:t>THE FUTURE OF </a:t>
            </a:r>
            <a:br>
              <a:rPr lang="en-US" sz="4000" b="1" dirty="0">
                <a:solidFill>
                  <a:prstClr val="white"/>
                </a:solidFill>
                <a:latin typeface="Arial MT Std Cond" panose="020B0506030403020204" pitchFamily="34" charset="0"/>
              </a:rPr>
            </a:br>
            <a:r>
              <a:rPr lang="en-US" sz="4000" b="1" dirty="0">
                <a:solidFill>
                  <a:prstClr val="white"/>
                </a:solidFill>
                <a:latin typeface="Arial MT Std Cond" panose="020B0506030403020204" pitchFamily="34" charset="0"/>
              </a:rPr>
              <a:t>YOUR FLEET</a:t>
            </a:r>
          </a:p>
          <a:p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973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C30908-A96B-45D7-864A-AA1F623D6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B97422-BF5C-4DE9-9F96-BE5B4087A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A55709-6878-4ACB-B1DC-3881F441E22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AB87807-77CC-4C1C-8310-E7FFECFD0D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E68737-3ECD-4E86-B87F-27C695F1E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3785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002979-1BCD-36F1-A522-A152F8E5D8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A4B6FF-9A69-23A4-F340-E4C620F0A4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3B342-4F84-95AC-9473-A0C506F5D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87053-31A4-5307-76B6-2E4514396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BE3783-5E59-1A15-87FA-C410CAB7E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861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3513F1-B492-4BDE-82F8-2A37538CB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3AC14C-54D8-4AF6-BDDD-4BACA9D7F6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B66DAE-B80D-4B3E-97F6-36078F5832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2D46CD-5DEF-417F-906B-2D406CE5CD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7EDEA-0BE5-4278-B2B6-43CAE3BA38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E9A895-618E-4423-B64B-AB79F68D7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EE415E-32C1-49FD-916B-3A7131854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09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5CE48-B727-4DD6-89EF-B53A4170E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931688-C00B-4DBC-968B-3B8A9D07BD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CD31FF-9721-4C3B-852D-F2A363620F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C411A9-ABB0-4752-9B81-E40F813D0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0F000-72E6-420A-B812-59A9D57DA4A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F9A520-8B3B-4146-9B1D-63530CF8B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DB5B48-44EF-4FC0-8425-B0353888B8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443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5E5C7-548B-46B4-91C3-E23EC5ED8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5CE38D2-F53D-42EE-A01D-097279C24B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ACB98-D885-4DC0-AD68-33C481017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BEEA3-D86D-41C2-BCEE-7483DA34D7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2C689-E4E1-4F46-AF99-0CBB9D8352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804CA8-623D-4EE9-AD33-814632E1D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4671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B4FD7FA-7977-4239-A874-3CDDFB1A05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930F58-A3D8-47A3-8007-919960A5AB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EA820-D9AE-4A48-B2B9-7202198C6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B60B95-A130-44F0-A4D9-2E8CB52A7D9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3AE97B-7D34-46C6-AD94-5128CB3F9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E4CF8C-F2AC-4281-84BC-7454A0E47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191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rgbClr val="007236">
                  <a:alpha val="50000"/>
                </a:srgb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305" y="424070"/>
            <a:ext cx="10973112" cy="1152939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3200" kern="1200" baseline="0" dirty="0">
                <a:solidFill>
                  <a:srgbClr val="07985C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37694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14400" y="1598614"/>
            <a:ext cx="10363200" cy="1470025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2284" y="2559050"/>
            <a:ext cx="8534400" cy="1752600"/>
          </a:xfrm>
        </p:spPr>
        <p:txBody>
          <a:bodyPr/>
          <a:lstStyle>
            <a:lvl1pPr marL="0" indent="0"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156001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50899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36793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2284" y="126047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0284" y="126047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4070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7DD1460-3497-41C6-ABAF-307241DA4F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21" r="14766" b="7096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917718B-D560-43CF-8547-C9E9CD6CE0D5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41F-F9C2-46ED-B5A4-47276BF9B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6E8989-1F9E-4677-A663-47E8114F38D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27C80-A28E-472C-A5D7-3FF27FE6F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</a:t>
            </a:r>
            <a:br>
              <a:rPr lang="en-US" dirty="0">
                <a:solidFill>
                  <a:prstClr val="black">
                    <a:tint val="75000"/>
                  </a:prstClr>
                </a:solidFill>
              </a:rPr>
            </a:b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© 2020 Enterprise Fleet Management, Inc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F4BAA-67AB-4410-A2AA-88F476CBB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914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304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76709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278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265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03302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43425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1884" y="593726"/>
            <a:ext cx="2743200" cy="51927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2284" y="593726"/>
            <a:ext cx="8026400" cy="51927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9615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2284" y="593726"/>
            <a:ext cx="10972800" cy="5192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3779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4" y="593725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2284" y="1260476"/>
            <a:ext cx="10972800" cy="452596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81182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61418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41F-F9C2-46ED-B5A4-47276BF9B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86D48-AF56-4C32-9844-E8AA09D2725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F4BAA-67AB-4410-A2AA-88F476CBB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C70AA7-CFA1-44FD-BD47-B3A3F6F1A4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0" t="28243" r="21881"/>
          <a:stretch/>
        </p:blipFill>
        <p:spPr>
          <a:xfrm>
            <a:off x="0" y="0"/>
            <a:ext cx="12192000" cy="7036904"/>
          </a:xfrm>
          <a:prstGeom prst="rect">
            <a:avLst/>
          </a:prstGeom>
          <a:noFill/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27C80-A28E-472C-A5D7-3FF27FE6F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</a:t>
            </a:r>
          </a:p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© 2020 Enterprise Fleet Management, Inc. </a:t>
            </a:r>
          </a:p>
        </p:txBody>
      </p:sp>
    </p:spTree>
    <p:extLst>
      <p:ext uri="{BB962C8B-B14F-4D97-AF65-F5344CB8AC3E}">
        <p14:creationId xmlns:p14="http://schemas.microsoft.com/office/powerpoint/2010/main" val="3594908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51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5176" cy="6858000"/>
          </a:xfrm>
          <a:prstGeom prst="rect">
            <a:avLst/>
          </a:prstGeom>
          <a:solidFill>
            <a:srgbClr val="5482A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510787" y="5143500"/>
            <a:ext cx="73044" cy="685800"/>
          </a:xfrm>
          <a:prstGeom prst="rect">
            <a:avLst/>
          </a:prstGeom>
          <a:solidFill>
            <a:srgbClr val="FFA4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50000"/>
                </a:scheme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7" name="Title 13"/>
          <p:cNvSpPr>
            <a:spLocks noGrp="1"/>
          </p:cNvSpPr>
          <p:nvPr>
            <p:ph type="title"/>
          </p:nvPr>
        </p:nvSpPr>
        <p:spPr>
          <a:xfrm>
            <a:off x="838418" y="512508"/>
            <a:ext cx="10759163" cy="1054963"/>
          </a:xfrm>
          <a:prstGeom prst="rect">
            <a:avLst/>
          </a:prstGeom>
        </p:spPr>
        <p:txBody>
          <a:bodyPr lIns="0" tIns="0" rIns="0" bIns="0"/>
          <a:lstStyle>
            <a:lvl1pPr algn="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0" kern="1200" baseline="0" dirty="0">
                <a:solidFill>
                  <a:srgbClr val="FFFFFF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838418" y="1622777"/>
            <a:ext cx="10759163" cy="914400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838419" y="4913402"/>
            <a:ext cx="10453207" cy="608228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2600" kern="1200" dirty="0">
                <a:solidFill>
                  <a:srgbClr val="FFFFFF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838419" y="5352845"/>
            <a:ext cx="10453207" cy="597096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kern="1200" spc="15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5461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8" t="21326" r="-90" b="7977"/>
          <a:stretch>
            <a:fillRect/>
          </a:stretch>
        </p:blipFill>
        <p:spPr bwMode="auto">
          <a:xfrm>
            <a:off x="0" y="0"/>
            <a:ext cx="121951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1539369" y="6400800"/>
            <a:ext cx="46049" cy="457200"/>
          </a:xfrm>
          <a:prstGeom prst="rect">
            <a:avLst/>
          </a:prstGeom>
          <a:solidFill>
            <a:srgbClr val="FFA4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50000"/>
                </a:scheme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3" name="Title 13"/>
          <p:cNvSpPr>
            <a:spLocks noGrp="1"/>
          </p:cNvSpPr>
          <p:nvPr>
            <p:ph type="title"/>
          </p:nvPr>
        </p:nvSpPr>
        <p:spPr>
          <a:xfrm>
            <a:off x="608172" y="4197097"/>
            <a:ext cx="10759163" cy="1054963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0" kern="1200" baseline="0" dirty="0">
                <a:solidFill>
                  <a:srgbClr val="565A5C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08172" y="5307367"/>
            <a:ext cx="10759163" cy="91440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565A5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r" rtl="0" fontAlgn="base">
              <a:lnSpc>
                <a:spcPts val="5000"/>
              </a:lnSpc>
              <a:spcBef>
                <a:spcPct val="0"/>
              </a:spcBef>
              <a:spcAft>
                <a:spcPct val="0"/>
              </a:spcAft>
              <a:buNone/>
              <a:defRPr lang="en-US" sz="4000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2590371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5179773" cy="6858000"/>
          </a:xfrm>
          <a:prstGeom prst="rect">
            <a:avLst/>
          </a:prstGeom>
          <a:solidFill>
            <a:srgbClr val="565A5C"/>
          </a:solidFill>
        </p:spPr>
        <p:txBody>
          <a:bodyPr lIns="0" tIns="0" rIns="0" bIns="0"/>
          <a:lstStyle/>
          <a:p>
            <a:pPr lvl="0"/>
            <a:endParaRPr lang="en-US" noProof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2307" y="1009029"/>
            <a:ext cx="4334693" cy="2404987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4400" kern="120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2307" y="631439"/>
            <a:ext cx="4334693" cy="36036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1"/>
          </p:nvPr>
        </p:nvSpPr>
        <p:spPr>
          <a:xfrm>
            <a:off x="612306" y="4359966"/>
            <a:ext cx="3843289" cy="1365301"/>
          </a:xfrm>
          <a:prstGeom prst="rect">
            <a:avLst/>
          </a:prstGeom>
        </p:spPr>
        <p:txBody>
          <a:bodyPr lIns="0" tIns="0" rIns="0" bIns="0"/>
          <a:lstStyle>
            <a:lvl1pPr marL="115885" marR="0" indent="-115885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000" b="0" i="1" kern="1200" baseline="0" smtClean="0">
                <a:solidFill>
                  <a:schemeClr val="bg1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6580378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" y="0"/>
            <a:ext cx="5179773" cy="6858000"/>
          </a:xfrm>
          <a:prstGeom prst="rect">
            <a:avLst/>
          </a:prstGeom>
          <a:solidFill>
            <a:srgbClr val="548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1539369" y="6400800"/>
            <a:ext cx="46049" cy="457200"/>
          </a:xfrm>
          <a:prstGeom prst="rect">
            <a:avLst/>
          </a:prstGeom>
          <a:solidFill>
            <a:srgbClr val="FFA4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50000"/>
                </a:scheme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 flipH="1">
            <a:off x="5063974" y="1"/>
            <a:ext cx="117389" cy="6858000"/>
          </a:xfrm>
          <a:prstGeom prst="rect">
            <a:avLst/>
          </a:prstGeom>
          <a:gradFill flip="none" rotWithShape="1">
            <a:gsLst>
              <a:gs pos="73000">
                <a:srgbClr val="FFA40A">
                  <a:alpha val="50000"/>
                </a:srgbClr>
              </a:gs>
              <a:gs pos="0">
                <a:srgbClr val="FFA40A"/>
              </a:gs>
              <a:gs pos="100000">
                <a:srgbClr val="FFA40A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2307" y="1009029"/>
            <a:ext cx="4334693" cy="2404987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4400" kern="120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2307" y="631439"/>
            <a:ext cx="4334693" cy="36036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5360801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icture Placeholder 27"/>
          <p:cNvSpPr>
            <a:spLocks noGrp="1"/>
          </p:cNvSpPr>
          <p:nvPr>
            <p:ph type="pic" sz="quarter" idx="12"/>
          </p:nvPr>
        </p:nvSpPr>
        <p:spPr>
          <a:xfrm>
            <a:off x="5185999" y="0"/>
            <a:ext cx="6996983" cy="6858000"/>
          </a:xfrm>
          <a:prstGeom prst="rect">
            <a:avLst/>
          </a:prstGeom>
          <a:solidFill>
            <a:srgbClr val="565A5C"/>
          </a:solidFill>
        </p:spPr>
        <p:txBody>
          <a:bodyPr lIns="0" tIns="0" rIns="0" bIns="0"/>
          <a:lstStyle/>
          <a:p>
            <a:pPr lvl="0"/>
            <a:endParaRPr lang="en-US" noProof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2307" y="1009029"/>
            <a:ext cx="4334693" cy="2404987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4400" kern="1200" dirty="0">
                <a:solidFill>
                  <a:srgbClr val="5482AB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2307" y="631439"/>
            <a:ext cx="4334693" cy="36036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rgbClr val="FFA40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25"/>
          <p:cNvSpPr>
            <a:spLocks noGrp="1"/>
          </p:cNvSpPr>
          <p:nvPr>
            <p:ph type="body" sz="quarter" idx="11"/>
          </p:nvPr>
        </p:nvSpPr>
        <p:spPr>
          <a:xfrm>
            <a:off x="612306" y="4359965"/>
            <a:ext cx="3843289" cy="2081851"/>
          </a:xfrm>
          <a:prstGeom prst="rect">
            <a:avLst/>
          </a:prstGeom>
        </p:spPr>
        <p:txBody>
          <a:bodyPr lIns="0" tIns="0" rIns="0" bIns="0"/>
          <a:lstStyle>
            <a:lvl1pPr marL="115885" marR="0" indent="-115885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2000" b="0" i="1" kern="1200" baseline="0" smtClean="0">
                <a:solidFill>
                  <a:srgbClr val="565A5C"/>
                </a:solidFill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7864450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flipH="1">
            <a:off x="5179773" y="0"/>
            <a:ext cx="7012227" cy="6858000"/>
          </a:xfrm>
          <a:prstGeom prst="rect">
            <a:avLst/>
          </a:prstGeom>
          <a:solidFill>
            <a:srgbClr val="548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2935" y="6400800"/>
            <a:ext cx="44461" cy="457200"/>
          </a:xfrm>
          <a:prstGeom prst="rect">
            <a:avLst/>
          </a:prstGeom>
          <a:solidFill>
            <a:srgbClr val="FFA4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0800000"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50000"/>
                </a:scheme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 flipH="1">
            <a:off x="5181363" y="1"/>
            <a:ext cx="117389" cy="6858000"/>
          </a:xfrm>
          <a:prstGeom prst="rect">
            <a:avLst/>
          </a:prstGeom>
          <a:gradFill flip="none" rotWithShape="1">
            <a:gsLst>
              <a:gs pos="73000">
                <a:srgbClr val="FFA40A">
                  <a:alpha val="50000"/>
                </a:srgbClr>
              </a:gs>
              <a:gs pos="0">
                <a:srgbClr val="FFA40A"/>
              </a:gs>
              <a:gs pos="100000">
                <a:srgbClr val="FFA40A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12307" y="1009029"/>
            <a:ext cx="4334693" cy="1495633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4400" kern="1200" dirty="0">
                <a:solidFill>
                  <a:srgbClr val="5482AB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2307" y="631439"/>
            <a:ext cx="4334693" cy="360363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rgbClr val="FFA40A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377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71566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754" indent="0" algn="l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9878619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rgbClr val="007236">
                  <a:alpha val="50000"/>
                </a:srgb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305" y="424070"/>
            <a:ext cx="10973112" cy="1152939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3200" kern="1200" baseline="0" dirty="0">
                <a:solidFill>
                  <a:srgbClr val="07985C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3205697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517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rgbClr val="007236">
                  <a:alpha val="50000"/>
                </a:srgb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3241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rgbClr val="548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1539369" y="6400800"/>
            <a:ext cx="46049" cy="457200"/>
          </a:xfrm>
          <a:prstGeom prst="rect">
            <a:avLst/>
          </a:prstGeom>
          <a:solidFill>
            <a:srgbClr val="FFA4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541477"/>
            <a:ext cx="12195176" cy="316524"/>
          </a:xfrm>
          <a:prstGeom prst="rect">
            <a:avLst/>
          </a:prstGeom>
          <a:gradFill flip="none" rotWithShape="1">
            <a:gsLst>
              <a:gs pos="0">
                <a:srgbClr val="565A5C"/>
              </a:gs>
              <a:gs pos="93000">
                <a:srgbClr val="565A5C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400800"/>
            <a:ext cx="12195176" cy="14128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  <a:alpha val="50000"/>
                </a:schemeClr>
              </a:gs>
              <a:gs pos="50000">
                <a:srgbClr val="5482AB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2305" y="424070"/>
            <a:ext cx="10973112" cy="1152939"/>
          </a:xfrm>
          <a:prstGeom prst="rect">
            <a:avLst/>
          </a:prstGeom>
        </p:spPr>
        <p:txBody>
          <a:bodyPr lIns="0" tIns="0" rIns="0" bIns="0"/>
          <a:lstStyle>
            <a:lvl1pPr algn="l" rtl="0" fontAlgn="base">
              <a:lnSpc>
                <a:spcPts val="4600"/>
              </a:lnSpc>
              <a:spcBef>
                <a:spcPct val="0"/>
              </a:spcBef>
              <a:spcAft>
                <a:spcPct val="0"/>
              </a:spcAft>
              <a:defRPr lang="en-US" sz="4400" kern="1200" baseline="0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882799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961267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00F41F-F9C2-46ED-B5A4-47276BF9B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A2DC4-7943-46D3-B09F-36A839A63D0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F4BAA-67AB-4410-A2AA-88F476CBB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80C131-74EB-48F9-B28C-85CB356034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09" t="267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27C80-A28E-472C-A5D7-3FF27FE6F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prstClr val="white">
                    <a:lumMod val="75000"/>
                  </a:prstClr>
                </a:solidFill>
              </a:rPr>
              <a:t>Enterprise and the ‘e’ logo are registered trademarks of Enterprise Fleet Management, Inc. </a:t>
            </a:r>
          </a:p>
          <a:p>
            <a:r>
              <a:rPr lang="en-US" dirty="0">
                <a:solidFill>
                  <a:prstClr val="white">
                    <a:lumMod val="75000"/>
                  </a:prstClr>
                </a:solidFill>
              </a:rPr>
              <a:t>© 2020 Enterprise Fleet Management, Inc. </a:t>
            </a:r>
          </a:p>
        </p:txBody>
      </p:sp>
    </p:spTree>
    <p:extLst>
      <p:ext uri="{BB962C8B-B14F-4D97-AF65-F5344CB8AC3E}">
        <p14:creationId xmlns:p14="http://schemas.microsoft.com/office/powerpoint/2010/main" val="12884124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8" y="1709740"/>
            <a:ext cx="10515163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8" y="4589464"/>
            <a:ext cx="10515163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D6442C4C-FA40-49D0-8FD1-EE8BE6421A64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5A4C52CA-9DAA-4DEA-9E32-BD9AD2E15F38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8502915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419" y="365125"/>
            <a:ext cx="10515163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418" y="1825625"/>
            <a:ext cx="5181363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21" y="1825625"/>
            <a:ext cx="5181361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DEFB40BB-C079-42D0-A64A-53F9FBBBC298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A9E33B6B-4B45-4374-BFB9-90FD2F9E560E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9652328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8" y="365125"/>
            <a:ext cx="10515163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7" y="1681163"/>
            <a:ext cx="5157543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7" y="2505075"/>
            <a:ext cx="5157543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20" y="1681163"/>
            <a:ext cx="5182949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20" y="2505075"/>
            <a:ext cx="5182949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23E9ED57-6327-4B1A-970E-E09326D697CB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99538929-0BF1-4658-950B-FAA9F1FE4995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6125965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419" y="365125"/>
            <a:ext cx="10515163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4EFFB391-2976-4DD5-BC98-2EDE090C8EA3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855513D1-76B8-43B3-8729-CDDDBF47BC67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2814965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2E06761B-03F9-4069-97A9-DA40D2C9A469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29A568A8-4B32-4D3D-8B5A-9A38962FD6B5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32060329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8" y="457200"/>
            <a:ext cx="39316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951" y="987426"/>
            <a:ext cx="617222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8" y="2057401"/>
            <a:ext cx="39316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660A5774-0C25-4283-9B92-B46B74ADF4C6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8618523F-9A43-48D2-B2D2-328BFFFE4E33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9639412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8" y="457200"/>
            <a:ext cx="39316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951" y="987426"/>
            <a:ext cx="617222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8" y="2057401"/>
            <a:ext cx="39316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366B3555-B35B-454B-BA7A-4365C12207B2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D5E06F2C-9B16-48DF-9A3A-4EC2BC0DF9F5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7744851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419" y="365125"/>
            <a:ext cx="10515163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9" y="1825625"/>
            <a:ext cx="10515163" cy="43513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24F1E41-4855-46D7-80B4-0375BE63D15F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423C79AF-740F-4019-830F-0AA2AFF4010F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44444783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5586" y="365126"/>
            <a:ext cx="2627996" cy="5811839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9" y="365126"/>
            <a:ext cx="7734727" cy="581183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419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05737C26-9BD5-42CA-BC1D-F9F05936AFBC}" type="datetimeFigureOut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2/20/2025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64" y="6356351"/>
            <a:ext cx="4115872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1255" y="6356351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A6518E7E-8F01-45A0-B15C-66B51349957C}" type="slidenum">
              <a:rPr lang="en-US" altLang="en-US" smtClean="0">
                <a:solidFill>
                  <a:prstClr val="black"/>
                </a:solidFill>
                <a:ea typeface="ヒラギノ角ゴ Pro W3" pitchFamily="-126" charset="-128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ヒラギノ角ゴ Pro W3" pitchFamily="-12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297048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E81C9-9DCE-E99E-B319-10AA1A3006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47A934-C276-4D00-726A-287C5CA2E4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6DE63-6AB8-53B9-3155-CD82F7768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552478-C86C-A872-79D8-5D88AA9AB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5307C-6E4E-5736-BB18-9BC966467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96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6F3D4-4386-4B4A-87B5-6FBB707CE8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4E307D-B1E3-43EF-9B79-F6D231F89B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286D02-C39E-460C-ADB7-9B8FDDB14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2D575-0351-4F55-A51D-88BBD8DE71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CACE9B-FC92-4785-832E-E3C206C47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B35E0D-FF31-479E-93D3-0806A4CF4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6377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92BA3-E78D-E00D-BFF1-7B93AF21C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929A1-B8AA-C54B-8838-A3CB0CAB8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302DD9-4904-BB11-8640-4B58DC6371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A2B53-003D-432F-BAEB-D42065B6F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1232B3-A4A8-C979-8F58-4BE6D06DF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428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7500F3-E7A5-444B-2B74-669EB6049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0CD0E4-0F9B-0298-7722-9C250480B0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F427AC-4041-76E4-7C6A-9704F5D9B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A5AFAA-2413-5181-E1F0-2C7A7AAA9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6631DD-59DD-30F6-5DFE-5CC408C64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37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1D4BD-B00E-674E-C158-A9E48DAD3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06C515-54C5-8D81-5F16-D05D535226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E0749-1A8A-AD9E-6BB9-7E085E1AFD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8B92C3-CC27-2EBE-2ABF-0A2348757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BC81EA-76B0-360F-0724-F19C3387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653E38-F876-92AE-7381-74F96750A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13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0578F-EE28-4444-B5F4-1C4076C11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4EBD6E-A24D-6E42-ED68-81B0D3D1A3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03ACB4-03C9-574E-7415-F838818A1B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634CFF-E716-09FE-2E17-65B9616AB5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837118-A9CB-CD94-D527-9AB885969E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92C35F-7182-B88A-FF44-34578CC1B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981962-9436-6763-7F76-4C47992CC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68CCC1-1430-6914-B8BC-130C77465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5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DC573-73C1-A536-E15A-B37FA5E6F6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C595DE-CA5F-541A-85A4-3CCDBD7F0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092C7B-FEBF-3940-D878-04E21037B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FA5D0-5172-D8A2-E7B4-696362B7E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65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072E37-0F8C-549E-E10D-62696DA84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68FD2B-F2B7-5AF5-676E-4DBE2D1E7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59C1B2-2F35-4D67-F456-A0A78B41E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06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188D8-9B27-EFB0-DC35-6CE8B399B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F320EA-6F51-67ED-A6DC-307F0B3BBE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ACC808-85B2-9D3B-79E4-5B01A78376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84F6B8-F816-6EEE-55E9-E4FB77C4E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FB8EEA-01DF-BCF3-77B8-9717FBBB6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705036-C5AA-306F-3BEE-1BE8508E3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72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173FB-8222-7F14-DB13-E57720EE8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5ECF20-F4B3-E949-974F-59CF176E73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364B5A-96E5-8F49-5BEF-96C2BF21B0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1EF1EC-2A70-D4E7-FECC-BD9775B24D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61BDE4-781E-276B-6C1B-4988058A3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848543-0FE0-DB20-0368-6D2207C70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05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1BD6D-532A-ABF4-533B-D2F81B00A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8BCACF-41D9-EB72-FC28-6D6E66A355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62771A-B8F7-5F0D-8BC9-C75392C05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F3B686-48B5-BB73-92EF-EFD9C8C01E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D9BAAB-4BE8-0A7F-F61B-F4605D4D8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05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440A63-B5D6-1B9A-EC4A-94E3C2BABA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1E06BB-77F6-07AF-B962-79B1F08163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DD68FE-E576-1EA4-ABC2-885853C33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F61F67-FAAA-B258-00E0-7D2E5B6FC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1B235B-0DD5-E9CA-C3B1-203AB5014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56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0A41FE-DC42-4EA4-A61B-25A8374C0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6BEFC2-1C5B-4728-AD37-E2E8A5C84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EA0E5D-7745-4949-949D-22A86738F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D47DA-8A32-48A2-A6B9-61595317E2A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E85D71-7F95-4606-8A30-56AC330B1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A3F41B-D265-4D9F-BD5F-D8171948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751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4567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04613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0867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5181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38501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STER_SLIDE_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91318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E81C9-9DCE-E99E-B319-10AA1A3006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47A934-C276-4D00-726A-287C5CA2E4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6DE63-6AB8-53B9-3155-CD82F7768B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552478-C86C-A872-79D8-5D88AA9AB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5307C-6E4E-5736-BB18-9BC966467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02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9380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0387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079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CA46F8-65F3-4CFF-A251-E11D51561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24F0A-0FF1-4FF8-A18B-1F88E4ADDF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E2E01-80F3-4785-8939-5271DCC294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DA0F6-CD42-443D-B156-92669D5930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CAA26-E718-41E7-94DD-B9B1FC233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CD5C73-65E7-4437-9301-AA788FBAB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9199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7708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7424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9836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8210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4063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9417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4913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5517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2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2" y="3602038"/>
            <a:ext cx="9144000" cy="1655762"/>
          </a:xfrm>
        </p:spPr>
        <p:txBody>
          <a:bodyPr/>
          <a:lstStyle>
            <a:lvl1pPr marL="0" indent="0" algn="ctr">
              <a:buNone/>
              <a:defRPr sz="23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9252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347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18982-0024-4468-8AFE-44F7A68B3C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EF47CB-9824-47DC-AADE-72BBE21167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2C406F-D126-4F03-9D38-3CB61CCDDA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68E9B2-6057-4FEB-8A79-56BD18940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A31D7-54FC-4920-BB8B-01C0110DD51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B48231-0DB9-4182-BA96-622B73AB66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F1BD64-07DB-40DC-84A6-4223BA51E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76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2"/>
            <a:ext cx="10515600" cy="2852737"/>
          </a:xfrm>
        </p:spPr>
        <p:txBody>
          <a:bodyPr anchor="b"/>
          <a:lstStyle>
            <a:lvl1pPr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7"/>
            <a:ext cx="10515600" cy="1500187"/>
          </a:xfrm>
        </p:spPr>
        <p:txBody>
          <a:bodyPr/>
          <a:lstStyle>
            <a:lvl1pPr marL="0" indent="0">
              <a:buNone/>
              <a:defRPr sz="2398">
                <a:solidFill>
                  <a:schemeClr val="tx1">
                    <a:tint val="75000"/>
                  </a:schemeClr>
                </a:solidFill>
              </a:defRPr>
            </a:lvl1pPr>
            <a:lvl2pPr marL="456926" indent="0">
              <a:buNone/>
              <a:defRPr sz="1998">
                <a:solidFill>
                  <a:schemeClr val="tx1">
                    <a:tint val="75000"/>
                  </a:schemeClr>
                </a:solidFill>
              </a:defRPr>
            </a:lvl2pPr>
            <a:lvl3pPr marL="913852" indent="0">
              <a:buNone/>
              <a:defRPr sz="1798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7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6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5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4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55577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2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97838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8" b="1"/>
            </a:lvl1pPr>
            <a:lvl2pPr marL="456926" indent="0">
              <a:buNone/>
              <a:defRPr sz="1998" b="1"/>
            </a:lvl2pPr>
            <a:lvl3pPr marL="913852" indent="0">
              <a:buNone/>
              <a:defRPr sz="1798" b="1"/>
            </a:lvl3pPr>
            <a:lvl4pPr marL="1370778" indent="0">
              <a:buNone/>
              <a:defRPr sz="1600" b="1"/>
            </a:lvl4pPr>
            <a:lvl5pPr marL="1827703" indent="0">
              <a:buNone/>
              <a:defRPr sz="1600" b="1"/>
            </a:lvl5pPr>
            <a:lvl6pPr marL="2284628" indent="0">
              <a:buNone/>
              <a:defRPr sz="1600" b="1"/>
            </a:lvl6pPr>
            <a:lvl7pPr marL="2741554" indent="0">
              <a:buNone/>
              <a:defRPr sz="1600" b="1"/>
            </a:lvl7pPr>
            <a:lvl8pPr marL="3198480" indent="0">
              <a:buNone/>
              <a:defRPr sz="1600" b="1"/>
            </a:lvl8pPr>
            <a:lvl9pPr marL="365540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644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7800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0864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398"/>
            </a:lvl3pPr>
            <a:lvl4pPr>
              <a:defRPr sz="1998"/>
            </a:lvl4pPr>
            <a:lvl5pPr>
              <a:defRPr sz="1998"/>
            </a:lvl5pPr>
            <a:lvl6pPr>
              <a:defRPr sz="1998"/>
            </a:lvl6pPr>
            <a:lvl7pPr>
              <a:defRPr sz="1998"/>
            </a:lvl7pPr>
            <a:lvl8pPr>
              <a:defRPr sz="1998"/>
            </a:lvl8pPr>
            <a:lvl9pPr>
              <a:defRPr sz="199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669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198"/>
            </a:lvl1pPr>
            <a:lvl2pPr marL="456926" indent="0">
              <a:buNone/>
              <a:defRPr sz="2798"/>
            </a:lvl2pPr>
            <a:lvl3pPr marL="913852" indent="0">
              <a:buNone/>
              <a:defRPr sz="2398"/>
            </a:lvl3pPr>
            <a:lvl4pPr marL="1370778" indent="0">
              <a:buNone/>
              <a:defRPr sz="1998"/>
            </a:lvl4pPr>
            <a:lvl5pPr marL="1827703" indent="0">
              <a:buNone/>
              <a:defRPr sz="1998"/>
            </a:lvl5pPr>
            <a:lvl6pPr marL="2284628" indent="0">
              <a:buNone/>
              <a:defRPr sz="1998"/>
            </a:lvl6pPr>
            <a:lvl7pPr marL="2741554" indent="0">
              <a:buNone/>
              <a:defRPr sz="1998"/>
            </a:lvl7pPr>
            <a:lvl8pPr marL="3198480" indent="0">
              <a:buNone/>
              <a:defRPr sz="1998"/>
            </a:lvl8pPr>
            <a:lvl9pPr marL="3655406" indent="0">
              <a:buNone/>
              <a:defRPr sz="1998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926" indent="0">
              <a:buNone/>
              <a:defRPr sz="1400"/>
            </a:lvl2pPr>
            <a:lvl3pPr marL="913852" indent="0">
              <a:buNone/>
              <a:defRPr sz="1200"/>
            </a:lvl3pPr>
            <a:lvl4pPr marL="1370778" indent="0">
              <a:buNone/>
              <a:defRPr sz="1000"/>
            </a:lvl4pPr>
            <a:lvl5pPr marL="1827703" indent="0">
              <a:buNone/>
              <a:defRPr sz="1000"/>
            </a:lvl5pPr>
            <a:lvl6pPr marL="2284628" indent="0">
              <a:buNone/>
              <a:defRPr sz="1000"/>
            </a:lvl6pPr>
            <a:lvl7pPr marL="2741554" indent="0">
              <a:buNone/>
              <a:defRPr sz="1000"/>
            </a:lvl7pPr>
            <a:lvl8pPr marL="3198480" indent="0">
              <a:buNone/>
              <a:defRPr sz="1000"/>
            </a:lvl8pPr>
            <a:lvl9pPr marL="365540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1984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2173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339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STER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0866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A8E710-5E29-4E18-8388-7F3936CCF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01F9F4-36A6-47C0-B77B-12CC348C24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5054E5-D6B9-41E9-997E-8752FAD0E1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414A7F-9AE1-43C5-B65C-FC02D54ACB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651AD1C-0BA6-4F35-ABBE-DAFB2F2DBC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A978057-9762-4B28-A884-8BC9E9956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6A1FB-D780-4999-86B4-2D463D447D6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CE0181-7451-416F-99AA-7F7892CD5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AF05B6-E0FE-482C-87E4-42731563E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172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B8FF8-AB7C-9A7C-DF99-62D0E05A8D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E02A1B-A9DF-1E98-98D5-DE5311AC3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B692A4-323F-ED31-76E6-83BAC390B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862D9-86EF-DC84-DEA2-074441BDE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C3F7B7-E4A8-F44B-0EE5-92B3A8F0F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20326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107B3-9EE1-1E26-7355-C0051B30F9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18BB55-0844-A5D5-1D9F-A291BE3D82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BAEAAE-C3F7-9508-D8B3-F9572D0FB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77650-8673-8945-D9E4-063342670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0D6F17-6F49-CCB6-E969-82E6DA097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8991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FF4B0-4018-9488-B041-5DED17528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5A0692-294D-022F-F2E6-687F5575F9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5FA1FC-AA04-AB7C-A4C0-B69A9C9198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A2BB4E-6B7E-09A2-1FBA-FE21C725E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8BADA9-F9F0-5318-C50B-59B8A1BE3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8622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F7914-4F92-1796-C7BA-61080BC07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B6D055-49A9-D908-35A3-C51C25FCAC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B8758C-A61C-93D2-F6CC-7685700BCA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3E298D-B246-D10A-20B3-62A6F5570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F93B88-F620-9CC7-2652-0F6801A14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A05499-344B-55E5-F27B-3BB6484EB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7059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22D5-1E21-B446-1096-255F043AA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CC856A-2B23-4FCD-0348-A0D801E28F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E534D9-1123-2631-ED04-D9F34D0E08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2FE38E-CE1D-F8F5-BA41-76F0A7030B2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14FD0E-DC0E-00D8-E913-0917EA8EFF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C2F108-CC18-1E8E-0D26-6489732C29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148310-4E65-5C84-1632-5DD25E746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380228-D155-B4F0-534B-4FB6AFA6C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109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6C4B1-4A9A-1131-8677-E4DFA54F6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4355A8-D998-D589-E47A-D935B80E57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4E79AA-3594-E66D-8AA6-CA2548678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257970-CFC0-534B-5266-2CF2776F4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713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FE8241-8C9D-3281-F6BE-86ABE9F12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5A7C73-9C5B-F819-3286-CE921497F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135B03-CE70-EF69-982A-2D8275687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223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49BF3E-E389-9B6E-BAB7-15398F703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93ECA0-D456-F687-F22A-33883DA12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0EA2AA-AC0D-7876-4610-5CA515B907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586F2-7A7C-1A51-121B-D5C6EBA9B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0E88ED-03D5-99AC-1236-3014ACB27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2F9E57-522D-EC62-7BFB-E4BDFEC05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8596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027E9-2045-3B66-1425-3C6CB6265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3E1959-AFBC-B548-2D68-5745B97E23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12B159-C031-6E5A-0FDB-10000DEFCA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BE1DB1-1E3E-B594-DD15-B3CAA95CCF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84603C-6DC7-C974-734E-B23DA0792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5770D1-87F3-0C9B-CFFE-3E60DD68E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5191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341AF-6A64-49AE-A0E5-899EFEEAD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5C66CE-5936-B86B-34B3-420B253E66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56364-7180-A14E-D073-3086E7F87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20FF4-90C7-804C-1DE4-8389A47BF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81610-89E1-304E-2FC7-9E023F81B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228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13.emf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E1128AD-612E-4E1F-B992-C33E444F3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84CE16-08DB-4972-9CCD-C4329A3BDE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11DFDE-7722-417B-93BD-8E41EDEA80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55CF94-02FD-4B86-B0D8-A14B983CB0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2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5A51F2-2F19-4132-8734-44326458C6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Enterprise and the ‘e’ logo are registered trademarks of Enterprise Fleet Management, Inc. © 2020 Enterprise Fleet Management, Inc.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56BCD-6B27-4933-8A37-A04FE6F6E1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320BE5-726A-4937-BD7A-C55CA0EDD4C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9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756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2572F64E-65F4-ACCB-DF56-083F1EECCE6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912284" y="593725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2B112C30-45D2-FF61-4DE7-E5C7DB58297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4" y="1260476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grpSp>
        <p:nvGrpSpPr>
          <p:cNvPr id="1028" name="Group 5">
            <a:extLst>
              <a:ext uri="{FF2B5EF4-FFF2-40B4-BE49-F238E27FC236}">
                <a16:creationId xmlns:a16="http://schemas.microsoft.com/office/drawing/2014/main" id="{B3341F31-8087-2F38-5806-301E5BFC277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-25400" y="0"/>
            <a:ext cx="12259733" cy="6858000"/>
            <a:chOff x="-337471" y="-313700"/>
            <a:chExt cx="12544795" cy="7058286"/>
          </a:xfrm>
        </p:grpSpPr>
        <p:pic>
          <p:nvPicPr>
            <p:cNvPr id="1029" name="Picture 6">
              <a:extLst>
                <a:ext uri="{FF2B5EF4-FFF2-40B4-BE49-F238E27FC236}">
                  <a16:creationId xmlns:a16="http://schemas.microsoft.com/office/drawing/2014/main" id="{F776B8B3-FF0C-37A1-E1EA-E08D4422B0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37471" y="-313700"/>
              <a:ext cx="12544795" cy="7058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0" name="Picture 7">
              <a:extLst>
                <a:ext uri="{FF2B5EF4-FFF2-40B4-BE49-F238E27FC236}">
                  <a16:creationId xmlns:a16="http://schemas.microsoft.com/office/drawing/2014/main" id="{64409A0B-2AA3-8E72-8148-8E39533993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873" r="41963"/>
            <a:stretch>
              <a:fillRect/>
            </a:stretch>
          </p:blipFill>
          <p:spPr bwMode="auto">
            <a:xfrm>
              <a:off x="-311877" y="-313700"/>
              <a:ext cx="12188823" cy="5409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53591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4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1906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</p:sldLayoutIdLst>
  <p:transition spd="med">
    <p:fade/>
  </p:transition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0"/>
          <a:cs typeface="ヒラギノ角ゴ Pro W3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9pPr>
    </p:titleStyle>
    <p:bodyStyle>
      <a:lvl1pPr marL="228594" indent="-228594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ヒラギノ角ゴ Pro W3" charset="0"/>
          <a:cs typeface="ヒラギノ角ゴ Pro W3" charset="0"/>
        </a:defRPr>
      </a:lvl1pPr>
      <a:lvl2pPr marL="685783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0"/>
          <a:cs typeface="+mn-cs"/>
        </a:defRPr>
      </a:lvl2pPr>
      <a:lvl3pPr marL="1142971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ヒラギノ角ゴ Pro W3" charset="0"/>
          <a:cs typeface="+mn-cs"/>
        </a:defRPr>
      </a:lvl3pPr>
      <a:lvl4pPr marL="1600160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ヒラギノ角ゴ Pro W3" charset="0"/>
          <a:cs typeface="+mn-cs"/>
        </a:defRPr>
      </a:lvl4pPr>
      <a:lvl5pPr marL="2057349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ヒラギノ角ゴ Pro W3" charset="0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615ACE-B5B3-87A7-88AC-045FD3736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79805A-EC05-774B-CEFF-73876DA68B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EBB55-B494-9E92-B256-4170E0B158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B274B3-68A6-454A-A2C3-B522860A4207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127925-CF2E-C7BF-D9A9-7DCC655E8D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32755-E17A-7864-6CF6-DDCEB42072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977A43-0640-8F4F-A0F4-CD1403DD15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191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30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â€“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â€“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Â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â€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2B835D4-942C-0945-B2F6-F81F4ECD1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58672076"/>
              </p:ext>
            </p:ext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2B835D4-942C-0945-B2F6-F81F4ECD1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8CC575-9802-4D08-A047-E372C692D5B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40923E-9AEA-46C0-9B4B-018A0F53BB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50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A8AA10-ACE6-4850-9CFE-849055993CC4}" type="datetimeFigureOut">
              <a:rPr lang="en-US" smtClean="0"/>
              <a:t>2/2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78FF46-6A64-4243-80C1-359E311056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03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</p:sldLayoutIdLst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43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2" indent="-228462" algn="l" defTabSz="9138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38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314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9240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2056166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8033D8D-E568-F589-0AC5-FC710183A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1C8B7-260E-53F7-D9B7-06EC256406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8864-8D4E-6960-13A8-51B88B2C51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4818AF-BC88-464F-A5E9-3989CFDCF5F4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57B130-9312-DCEF-E7BC-37E989FC6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983B3E-093A-07E2-B4E8-DE8ED6D951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9C2E1-701F-4F57-94B1-F70A917016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46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49.svg"/><Relationship Id="rId11" Type="http://schemas.openxmlformats.org/officeDocument/2006/relationships/image" Target="../media/image16.pn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microsoft.com/office/2007/relationships/hdphoto" Target="../media/hdphoto2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5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5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9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9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hyperlink" Target="mailto:Robert.S.Holman@efleets.com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6.xml"/><Relationship Id="rId6" Type="http://schemas.openxmlformats.org/officeDocument/2006/relationships/hyperlink" Target="mailto:Chad.J.Elbert@efleets.com" TargetMode="External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2yqgaaaaasuvork5cyii="/><Relationship Id="rId13" Type="http://schemas.openxmlformats.org/officeDocument/2006/relationships/image" Target="../media/image34.png"/><Relationship Id="rId3" Type="http://schemas.openxmlformats.org/officeDocument/2006/relationships/image" Target="../media/image16.png"/><Relationship Id="rId7" Type="http://schemas.openxmlformats.org/officeDocument/2006/relationships/image" Target="../media/image28.kp3k+hv58kjpl1xv1u5ajc79o5ppl+phz09+oekd+nbkhoccj2ywaaaabjru5erkjggg==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7.t6lvpr8utlwaaaaasuvork5cyii=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zxjd9ggx2612istd2uk2+lq8wxf0j19w9hni9ug5jdjzd4fhbu1x8xrncyaaaaasuvork5cyii=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arrdna0ywd+waaaaaelftksuqmcc"/><Relationship Id="rId14" Type="http://schemas.openxmlformats.org/officeDocument/2006/relationships/image" Target="../media/image35.piemuk+y0ejwpoyjrydkisifhesubigbiitmi67u1c59eslqk16jtmmrvwrxbpo5ut5dngyi9svlgergjct+ye3f6uwglxaq5ttty8hypnx3dfgmqil2ojyc7mlyvrlgi2vt37bvjspdnjsqqqe1hlecroh7pld+3uv2irzkvpevfmemkdxtju2cvuuzdaararip61mc9bgpcbanonulojieqowsm8xrvzkyjaimrwhk+ngi60az9ebnqutyo4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2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B0F56E3-937F-FE5E-47CF-B6B9BA4C1D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F8AB48D-09F3-D5A9-007B-9D0E7FBBEE20}"/>
              </a:ext>
            </a:extLst>
          </p:cNvPr>
          <p:cNvSpPr/>
          <p:nvPr/>
        </p:nvSpPr>
        <p:spPr>
          <a:xfrm>
            <a:off x="0" y="-30649"/>
            <a:ext cx="12192000" cy="6888649"/>
          </a:xfrm>
          <a:prstGeom prst="rect">
            <a:avLst/>
          </a:prstGeom>
          <a:gradFill>
            <a:gsLst>
              <a:gs pos="8000">
                <a:srgbClr val="005558"/>
              </a:gs>
              <a:gs pos="28000">
                <a:srgbClr val="04A664">
                  <a:alpha val="76180"/>
                </a:srgbClr>
              </a:gs>
              <a:gs pos="64000">
                <a:srgbClr val="5DBE91">
                  <a:alpha val="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4A6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5026A9A-BA27-4262-4B74-0B512C532D42}"/>
              </a:ext>
            </a:extLst>
          </p:cNvPr>
          <p:cNvSpPr txBox="1">
            <a:spLocks/>
          </p:cNvSpPr>
          <p:nvPr/>
        </p:nvSpPr>
        <p:spPr>
          <a:xfrm>
            <a:off x="533199" y="5325719"/>
            <a:ext cx="7301823" cy="1162015"/>
          </a:xfrm>
          <a:prstGeom prst="rect">
            <a:avLst/>
          </a:prstGeom>
        </p:spPr>
        <p:txBody>
          <a:bodyPr vert="horz" lIns="91416" tIns="45708" rIns="91416" bIns="45708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300" normalizeH="0" baseline="0" noProof="0" dirty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D25F85-5E41-261D-EC76-72B92201737A}"/>
              </a:ext>
            </a:extLst>
          </p:cNvPr>
          <p:cNvSpPr txBox="1"/>
          <p:nvPr/>
        </p:nvSpPr>
        <p:spPr>
          <a:xfrm>
            <a:off x="533199" y="5850149"/>
            <a:ext cx="47269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spc="300" dirty="0">
                <a:solidFill>
                  <a:srgbClr val="F2EF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ursday, February 20</a:t>
            </a:r>
            <a:r>
              <a:rPr lang="en-US" sz="1600" b="1" spc="300" baseline="30000" dirty="0">
                <a:solidFill>
                  <a:srgbClr val="F2EF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b="1" spc="300" dirty="0">
                <a:solidFill>
                  <a:srgbClr val="F2EF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600" b="1" i="0" u="none" strike="noStrike" kern="1200" cap="none" spc="300" normalizeH="0" baseline="0" noProof="0" dirty="0">
              <a:ln>
                <a:noFill/>
              </a:ln>
              <a:solidFill>
                <a:srgbClr val="F2EFE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902E31-38BC-9BE1-7111-2438C3849574}"/>
              </a:ext>
            </a:extLst>
          </p:cNvPr>
          <p:cNvSpPr txBox="1"/>
          <p:nvPr/>
        </p:nvSpPr>
        <p:spPr>
          <a:xfrm>
            <a:off x="578372" y="6155199"/>
            <a:ext cx="4108337" cy="37161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100" normalizeH="0" baseline="0" noProof="0" dirty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 AND PROPRIETARY</a:t>
            </a:r>
            <a:endParaRPr kumimoji="0" lang="en-US" sz="1100" b="0" i="0" u="none" strike="noStrike" kern="1200" cap="none" spc="100" normalizeH="0" baseline="0" noProof="0" dirty="0">
              <a:ln>
                <a:noFill/>
              </a:ln>
              <a:solidFill>
                <a:srgbClr val="F2EFE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Date Placeholder 12">
            <a:extLst>
              <a:ext uri="{FF2B5EF4-FFF2-40B4-BE49-F238E27FC236}">
                <a16:creationId xmlns:a16="http://schemas.microsoft.com/office/drawing/2014/main" id="{F33349A5-995D-F5A2-A3B7-303FB51C5679}"/>
              </a:ext>
            </a:extLst>
          </p:cNvPr>
          <p:cNvSpPr txBox="1">
            <a:spLocks/>
          </p:cNvSpPr>
          <p:nvPr/>
        </p:nvSpPr>
        <p:spPr>
          <a:xfrm>
            <a:off x="8921611" y="6232108"/>
            <a:ext cx="284405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609493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</a:t>
            </a:r>
            <a:fld id="{CFDC8ACA-339B-A946-9F96-6E57F0E907CD}" type="datetimeyyyy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</a:t>
            </a:fld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terprise Fleet Management, Inc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6AD254-70EF-D4DA-3DC2-6C577D955853}"/>
              </a:ext>
            </a:extLst>
          </p:cNvPr>
          <p:cNvSpPr txBox="1"/>
          <p:nvPr/>
        </p:nvSpPr>
        <p:spPr>
          <a:xfrm>
            <a:off x="533199" y="4891062"/>
            <a:ext cx="72566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</a:rPr>
              <a:t>Fleet Funding Op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6A453B-AAF0-3A5A-17C5-82C0EA656E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5002" y="260767"/>
            <a:ext cx="2840668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504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 CAS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PROS &amp; C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98EDE4A-56A3-820A-EEA1-0AC690B2B89F}"/>
              </a:ext>
            </a:extLst>
          </p:cNvPr>
          <p:cNvSpPr txBox="1"/>
          <p:nvPr/>
        </p:nvSpPr>
        <p:spPr>
          <a:xfrm>
            <a:off x="412260" y="1368127"/>
            <a:ext cx="5320325" cy="3447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Own vehicle outright, never an instance of fleet inequity or penaltie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No ongoing monthly/ annual payment obligation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No debt or interest factor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Flexibility with hold period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Rights to resale gains when vehicle is sold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993025-E97A-0CF8-3B3D-E82516F4C9F9}"/>
              </a:ext>
            </a:extLst>
          </p:cNvPr>
          <p:cNvSpPr txBox="1"/>
          <p:nvPr/>
        </p:nvSpPr>
        <p:spPr>
          <a:xfrm>
            <a:off x="6459415" y="1368127"/>
            <a:ext cx="5320325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n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Vehicles are depreciating assets and will never be worth as much as you initially paid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Requires significant capital upfront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Opportunity Costs – once money is spent on depreciating asset it can no longer be used to satisfy other needs or investment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lang="en-US" sz="20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069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ITIONAL FIN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PROS &amp; C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2B62EA3-08CB-873D-2E42-C55E48A4C9A0}"/>
              </a:ext>
            </a:extLst>
          </p:cNvPr>
          <p:cNvSpPr txBox="1"/>
          <p:nvPr/>
        </p:nvSpPr>
        <p:spPr>
          <a:xfrm>
            <a:off x="412260" y="1368127"/>
            <a:ext cx="5320325" cy="2831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Cash flow friendly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uilds equity in vehicle over term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nd user owns vehicle once paid off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End user has all rights to resale equity once sol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89E299-BBDF-C3AF-533F-B7B642AF0EB0}"/>
              </a:ext>
            </a:extLst>
          </p:cNvPr>
          <p:cNvSpPr txBox="1"/>
          <p:nvPr/>
        </p:nvSpPr>
        <p:spPr>
          <a:xfrm>
            <a:off x="6459417" y="1368127"/>
            <a:ext cx="5320325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n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equires underwriting and credit requirement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ooked as debt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Ongoing payments</a:t>
            </a:r>
          </a:p>
          <a:p>
            <a:pPr marR="0" lvl="1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93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S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PROS &amp; C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2B62EA3-08CB-873D-2E42-C55E48A4C9A0}"/>
              </a:ext>
            </a:extLst>
          </p:cNvPr>
          <p:cNvSpPr txBox="1"/>
          <p:nvPr/>
        </p:nvSpPr>
        <p:spPr>
          <a:xfrm>
            <a:off x="412260" y="1368127"/>
            <a:ext cx="5320325" cy="46782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ro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Cash flow friendly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Builds equity in vehicle over term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End user owns vehicle once paid off (Open End)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End user has all rights to resale equity once sold (Open End)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Flexibility on term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Only paying interested on financed portion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bility to roll equity 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educes the impact of mid-year budge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mmendment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89E299-BBDF-C3AF-533F-B7B642AF0EB0}"/>
              </a:ext>
            </a:extLst>
          </p:cNvPr>
          <p:cNvSpPr txBox="1"/>
          <p:nvPr/>
        </p:nvSpPr>
        <p:spPr>
          <a:xfrm>
            <a:off x="6459417" y="1368127"/>
            <a:ext cx="5666934" cy="3447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Con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Requires underwriting and credit requirement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Ongoing payment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</a:t>
            </a:r>
            <a:r>
              <a:rPr lang="en-US" sz="2000" dirty="0" err="1">
                <a:solidFill>
                  <a:prstClr val="black"/>
                </a:solidFill>
                <a:latin typeface="Arial Narrow" panose="020B0606020202030204" pitchFamily="34" charset="0"/>
              </a:rPr>
              <a:t>egative</a:t>
            </a: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 perception due to bad retail experiences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Penalties at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th</a:t>
            </a: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e end of term (Closed End)</a:t>
            </a: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Always have a</a:t>
            </a: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 paymen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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764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S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OPEN VS CLOSED ENDE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E22359E-1256-8AC0-29AD-5112D163F581}"/>
              </a:ext>
            </a:extLst>
          </p:cNvPr>
          <p:cNvGrpSpPr/>
          <p:nvPr/>
        </p:nvGrpSpPr>
        <p:grpSpPr>
          <a:xfrm>
            <a:off x="1065092" y="1524559"/>
            <a:ext cx="5030908" cy="4969188"/>
            <a:chOff x="504454" y="1720351"/>
            <a:chExt cx="3600199" cy="497048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43DD8B5-9B99-8EE4-AF6F-935D26649413}"/>
                </a:ext>
              </a:extLst>
            </p:cNvPr>
            <p:cNvSpPr/>
            <p:nvPr/>
          </p:nvSpPr>
          <p:spPr>
            <a:xfrm>
              <a:off x="504454" y="1720351"/>
              <a:ext cx="3600199" cy="512591"/>
            </a:xfrm>
            <a:prstGeom prst="rect">
              <a:avLst/>
            </a:prstGeom>
            <a:solidFill>
              <a:srgbClr val="07985C"/>
            </a:solidFill>
            <a:ln w="6350" cap="flat" cmpd="sng" algn="ctr">
              <a:solidFill>
                <a:srgbClr val="00713A"/>
              </a:solidFill>
              <a:prstDash val="solid"/>
              <a:miter lim="800000"/>
            </a:ln>
            <a:effectLst/>
          </p:spPr>
          <p:txBody>
            <a:bodyPr lIns="91416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458FE28-3BCF-D65D-ED37-B0A48B4B5D29}"/>
                </a:ext>
              </a:extLst>
            </p:cNvPr>
            <p:cNvSpPr/>
            <p:nvPr/>
          </p:nvSpPr>
          <p:spPr>
            <a:xfrm>
              <a:off x="504454" y="2232943"/>
              <a:ext cx="3600199" cy="3738198"/>
            </a:xfrm>
            <a:prstGeom prst="rect">
              <a:avLst/>
            </a:prstGeom>
            <a:solidFill>
              <a:sysClr val="window" lastClr="FFFFFF">
                <a:alpha val="80000"/>
              </a:sysClr>
            </a:solidFill>
            <a:ln w="6350" cap="flat" cmpd="sng" algn="ctr">
              <a:solidFill>
                <a:srgbClr val="00713A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0E9763D-295E-4FB5-18A8-9B93BCF05914}"/>
                </a:ext>
              </a:extLst>
            </p:cNvPr>
            <p:cNvSpPr txBox="1"/>
            <p:nvPr/>
          </p:nvSpPr>
          <p:spPr>
            <a:xfrm>
              <a:off x="618115" y="2257825"/>
              <a:ext cx="3437458" cy="4433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234950" indent="-234950">
                <a:spcAft>
                  <a:spcPts val="600"/>
                </a:spcAft>
                <a:buFont typeface="Arial"/>
                <a:buChar char="•"/>
                <a:defRPr sz="18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Can be categorized as Operating or Capital </a:t>
              </a:r>
            </a:p>
            <a:p>
              <a:pPr lvl="1" indent="-234950">
                <a:spcAft>
                  <a:spcPts val="600"/>
                </a:spcAft>
                <a:buFont typeface="Arial"/>
                <a:buChar char="•"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Operating Lease – booked as monthly lease expense, doesn’t count as debt</a:t>
              </a:r>
            </a:p>
            <a:p>
              <a:pPr lvl="1" indent="-234950">
                <a:spcAft>
                  <a:spcPts val="600"/>
                </a:spcAft>
                <a:buFont typeface="Arial"/>
                <a:buChar char="•"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Capital Lease – simulates asset purchase, counts as debt </a:t>
              </a:r>
            </a:p>
            <a:p>
              <a:pPr lvl="1" indent="-234950">
                <a:spcAft>
                  <a:spcPts val="600"/>
                </a:spcAft>
                <a:buFont typeface="Arial"/>
                <a:buChar char="•"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Tax ownership is available on both Operating &amp; Capital Leases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Lessee builds equity in the vehicle over the term and has the rights to the resale gains when sold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No penalties for over-mileage, wear/ tear, early termination etc.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Only obligation of lessee is to satisfy unpaid principal at anytime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D3DB871-AFC3-2B7D-591F-B9512F4FF61F}"/>
              </a:ext>
            </a:extLst>
          </p:cNvPr>
          <p:cNvSpPr txBox="1"/>
          <p:nvPr/>
        </p:nvSpPr>
        <p:spPr>
          <a:xfrm>
            <a:off x="1065092" y="1590417"/>
            <a:ext cx="4545765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en-US" sz="1799" b="1" dirty="0">
                <a:solidFill>
                  <a:prstClr val="white"/>
                </a:solidFill>
                <a:latin typeface="Arial Narrow" panose="020B0606020202030204" pitchFamily="34" charset="0"/>
              </a:rPr>
              <a:t>Open Ended Leasing (Equity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EAC464E-EFC1-454A-E64B-2A013F22FAF2}"/>
              </a:ext>
            </a:extLst>
          </p:cNvPr>
          <p:cNvGrpSpPr/>
          <p:nvPr/>
        </p:nvGrpSpPr>
        <p:grpSpPr>
          <a:xfrm>
            <a:off x="6550070" y="1524559"/>
            <a:ext cx="5030908" cy="4511087"/>
            <a:chOff x="504454" y="1720351"/>
            <a:chExt cx="3600199" cy="451226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B437190-8086-7977-957F-F3D3F82B87C6}"/>
                </a:ext>
              </a:extLst>
            </p:cNvPr>
            <p:cNvSpPr/>
            <p:nvPr/>
          </p:nvSpPr>
          <p:spPr>
            <a:xfrm>
              <a:off x="504454" y="1720351"/>
              <a:ext cx="3600199" cy="512591"/>
            </a:xfrm>
            <a:prstGeom prst="rect">
              <a:avLst/>
            </a:prstGeom>
            <a:solidFill>
              <a:srgbClr val="07985C"/>
            </a:solidFill>
            <a:ln w="6350" cap="flat" cmpd="sng" algn="ctr">
              <a:solidFill>
                <a:srgbClr val="00713A"/>
              </a:solidFill>
              <a:prstDash val="solid"/>
              <a:miter lim="800000"/>
            </a:ln>
            <a:effectLst/>
          </p:spPr>
          <p:txBody>
            <a:bodyPr lIns="91416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380ACBD-3564-8CFB-5332-C875E961BBB2}"/>
                </a:ext>
              </a:extLst>
            </p:cNvPr>
            <p:cNvSpPr/>
            <p:nvPr/>
          </p:nvSpPr>
          <p:spPr>
            <a:xfrm>
              <a:off x="504454" y="2232943"/>
              <a:ext cx="3600199" cy="3738198"/>
            </a:xfrm>
            <a:prstGeom prst="rect">
              <a:avLst/>
            </a:prstGeom>
            <a:solidFill>
              <a:sysClr val="window" lastClr="FFFFFF">
                <a:alpha val="80000"/>
              </a:sysClr>
            </a:solidFill>
            <a:ln w="6350" cap="flat" cmpd="sng" algn="ctr">
              <a:solidFill>
                <a:srgbClr val="00713A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415F625-176D-491B-6B83-6B3E567D084B}"/>
                </a:ext>
              </a:extLst>
            </p:cNvPr>
            <p:cNvSpPr txBox="1"/>
            <p:nvPr/>
          </p:nvSpPr>
          <p:spPr>
            <a:xfrm>
              <a:off x="613504" y="2369139"/>
              <a:ext cx="3382096" cy="38634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234950" indent="-234950">
                <a:spcAft>
                  <a:spcPts val="600"/>
                </a:spcAft>
                <a:buFont typeface="Arial"/>
                <a:buChar char="•"/>
                <a:defRPr sz="18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Categorized as an operating lease only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Commonly referred to as a Net, Walkaway or Dealer Lease.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Has set term, mileage allotment and expectations on acceptable wear/tear.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lang="en-US" sz="16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Lessee has no obligation to resale equity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Penalties are typically assessed upon the turn in of the vehicle for over-mileage, excessive wear/ tear, early termination etc.</a:t>
              </a:r>
            </a:p>
            <a:p>
              <a:pPr marL="234950" marR="0" lvl="0" indent="-2349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Typically lower monthly payments than open ended leas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BA7785F-775A-D392-445A-6FFE5E699429}"/>
              </a:ext>
            </a:extLst>
          </p:cNvPr>
          <p:cNvSpPr txBox="1"/>
          <p:nvPr/>
        </p:nvSpPr>
        <p:spPr>
          <a:xfrm>
            <a:off x="6792638" y="1599734"/>
            <a:ext cx="4545765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defRPr/>
            </a:pPr>
            <a:r>
              <a:rPr lang="en-US" sz="1799" b="1" dirty="0">
                <a:solidFill>
                  <a:prstClr val="white"/>
                </a:solidFill>
                <a:latin typeface="Arial Narrow" panose="020B0606020202030204" pitchFamily="34" charset="0"/>
              </a:rPr>
              <a:t>Closed Ended Leasing (Net, Walkaway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66B1C92-0766-D56B-335C-D54DA2F87527}"/>
              </a:ext>
            </a:extLst>
          </p:cNvPr>
          <p:cNvSpPr txBox="1"/>
          <p:nvPr/>
        </p:nvSpPr>
        <p:spPr>
          <a:xfrm>
            <a:off x="63305" y="5836413"/>
            <a:ext cx="121286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83992A"/>
              </a:buClr>
              <a:buSzPct val="115000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Under new FASB</a:t>
            </a:r>
            <a:r>
              <a:rPr lang="en-US" i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 pitchFamily="34" charset="0"/>
              </a:rPr>
              <a:t>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ase guidance both operating and capital leases are now carried on balance sheet – previously operating leases were not required to be on the balance sheet – did not impact a client’s liabilities and future payment obligations. </a:t>
            </a:r>
          </a:p>
        </p:txBody>
      </p:sp>
    </p:spTree>
    <p:extLst>
      <p:ext uri="{BB962C8B-B14F-4D97-AF65-F5344CB8AC3E}">
        <p14:creationId xmlns:p14="http://schemas.microsoft.com/office/powerpoint/2010/main" val="154457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4" y="168073"/>
            <a:ext cx="8855435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THE EQUITY LEAS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B31DA8B-B534-F553-7901-DD0A69E77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504" y="1723360"/>
            <a:ext cx="2011330" cy="44127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85F1D0-B748-A886-FE78-A7D41A5626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2023" y="3519608"/>
            <a:ext cx="975191" cy="11402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CE8EDB-FE76-08EA-A37D-425F795D41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0460" y="1744889"/>
            <a:ext cx="975191" cy="1808525"/>
          </a:xfrm>
          <a:prstGeom prst="rect">
            <a:avLst/>
          </a:prstGeom>
        </p:spPr>
      </p:pic>
      <p:sp>
        <p:nvSpPr>
          <p:cNvPr id="12" name="Rectangle 26">
            <a:extLst>
              <a:ext uri="{FF2B5EF4-FFF2-40B4-BE49-F238E27FC236}">
                <a16:creationId xmlns:a16="http://schemas.microsoft.com/office/drawing/2014/main" id="{81DE475F-510C-B062-6E4D-E835E7D5C4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1382" y="3826964"/>
            <a:ext cx="1065983" cy="46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Equity</a:t>
            </a:r>
          </a:p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10,500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C01693-BA2C-FA49-0485-B373E5509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4598" y="2021023"/>
            <a:ext cx="615589" cy="2673769"/>
          </a:xfrm>
          <a:prstGeom prst="rect">
            <a:avLst/>
          </a:prstGeom>
        </p:spPr>
      </p:pic>
      <p:sp>
        <p:nvSpPr>
          <p:cNvPr id="14" name="Rectangle 8">
            <a:extLst>
              <a:ext uri="{FF2B5EF4-FFF2-40B4-BE49-F238E27FC236}">
                <a16:creationId xmlns:a16="http://schemas.microsoft.com/office/drawing/2014/main" id="{5B02C136-10A0-A2A6-5D29-A0D0DAB9A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156" y="3373797"/>
            <a:ext cx="2392981" cy="307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Estimated Resale - $20,000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CCF261E5-FA19-E93D-DD12-18C995689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378" y="4468871"/>
            <a:ext cx="21948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Unpaid Principal - $9,5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45754F-53EC-DC1B-1A4C-26BEBA033F5B}"/>
              </a:ext>
            </a:extLst>
          </p:cNvPr>
          <p:cNvSpPr txBox="1"/>
          <p:nvPr/>
        </p:nvSpPr>
        <p:spPr>
          <a:xfrm>
            <a:off x="2631148" y="2303175"/>
            <a:ext cx="1056938" cy="830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310">
              <a:defRPr/>
            </a:pPr>
            <a:r>
              <a:rPr lang="en-US" sz="1200" b="1" dirty="0">
                <a:solidFill>
                  <a:prstClr val="white"/>
                </a:solidFill>
                <a:latin typeface="Calibri"/>
              </a:rPr>
              <a:t>Equity Lease- Total Depreciation $30,000</a:t>
            </a: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D184898E-CFE4-6CB9-5E03-AEE2F5D1B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0185" y="2933439"/>
            <a:ext cx="2579544" cy="95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60 months *1.35% Monthly Depreciation = 81% of Delivered Price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($675/month in Principal) 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CAD9456-707D-0452-9D33-B5EA97675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7931" y="6152851"/>
            <a:ext cx="4056469" cy="307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0 Loan Balance ($835/month in Principal) </a:t>
            </a: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65391588-FAD1-4247-62F3-35097E444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4892" y="1203446"/>
            <a:ext cx="24978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Delivered Price - $50,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49A3FF-F69B-AE20-9064-28DB4A082EE4}"/>
              </a:ext>
            </a:extLst>
          </p:cNvPr>
          <p:cNvSpPr txBox="1"/>
          <p:nvPr/>
        </p:nvSpPr>
        <p:spPr>
          <a:xfrm>
            <a:off x="2591381" y="5026196"/>
            <a:ext cx="1108400" cy="738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310"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Traditional Finance </a:t>
            </a:r>
            <a:r>
              <a:rPr lang="en-US" sz="1400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Calibri"/>
              </a:rPr>
              <a:t>$50,00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93D2A1B-4F6F-BF42-7E75-114DC5E2DA26}"/>
              </a:ext>
            </a:extLst>
          </p:cNvPr>
          <p:cNvSpPr/>
          <p:nvPr/>
        </p:nvSpPr>
        <p:spPr>
          <a:xfrm>
            <a:off x="7612798" y="1096528"/>
            <a:ext cx="4453151" cy="5581538"/>
          </a:xfrm>
          <a:prstGeom prst="rect">
            <a:avLst/>
          </a:prstGeom>
          <a:solidFill>
            <a:srgbClr val="0798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433F6A66-3B6A-E1CD-698C-C004A80FC216}"/>
              </a:ext>
            </a:extLst>
          </p:cNvPr>
          <p:cNvSpPr txBox="1">
            <a:spLocks/>
          </p:cNvSpPr>
          <p:nvPr/>
        </p:nvSpPr>
        <p:spPr>
          <a:xfrm>
            <a:off x="7612799" y="1196368"/>
            <a:ext cx="4532097" cy="3751941"/>
          </a:xfrm>
          <a:prstGeom prst="rect">
            <a:avLst/>
          </a:prstGeom>
        </p:spPr>
        <p:txBody>
          <a:bodyPr/>
          <a:lstStyle>
            <a:lvl1pPr marL="336550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90563" indent="-354013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27113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9538" indent="-352425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16088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ring Funding Options</a:t>
            </a:r>
          </a:p>
          <a:p>
            <a:pPr marL="0" marR="0" lvl="0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ity Lease</a:t>
            </a: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ng vehicle down to a residual instead of $0 at term.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s monthly principal payment by $160 compared to Finance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9,500 of unpaid principal at term, can be satisfied by extension, equity roll or payoff</a:t>
            </a:r>
          </a:p>
          <a:p>
            <a:pPr marL="0" marR="0" lvl="1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e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es full amount of the vehicle over the term 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ny owns the asset at end of term</a:t>
            </a:r>
          </a:p>
          <a:p>
            <a:pPr marL="0" marR="0" lvl="1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h Buy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y full amount of vehicle upfront, own throughout life cycle</a:t>
            </a: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" name="Picture 8" descr="New 2022 Ford F-150 Platinum SuperCrew® in Rifle #F22276 | Columbine Ford">
            <a:extLst>
              <a:ext uri="{FF2B5EF4-FFF2-40B4-BE49-F238E27FC236}">
                <a16:creationId xmlns:a16="http://schemas.microsoft.com/office/drawing/2014/main" id="{49D61F73-E4DB-3D29-3A98-0228EED49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344626" y="889624"/>
            <a:ext cx="2958843" cy="221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780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4" y="168073"/>
            <a:ext cx="8855435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THE EQUITY LEAS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5B31DA8B-B534-F553-7901-DD0A69E775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8504" y="1723360"/>
            <a:ext cx="2011330" cy="44127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785F1D0-B748-A886-FE78-A7D41A5626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2023" y="3519608"/>
            <a:ext cx="975191" cy="11402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CE8EDB-FE76-08EA-A37D-425F795D41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70460" y="1744889"/>
            <a:ext cx="975191" cy="1808525"/>
          </a:xfrm>
          <a:prstGeom prst="rect">
            <a:avLst/>
          </a:prstGeom>
        </p:spPr>
      </p:pic>
      <p:sp>
        <p:nvSpPr>
          <p:cNvPr id="12" name="Rectangle 26">
            <a:extLst>
              <a:ext uri="{FF2B5EF4-FFF2-40B4-BE49-F238E27FC236}">
                <a16:creationId xmlns:a16="http://schemas.microsoft.com/office/drawing/2014/main" id="{81DE475F-510C-B062-6E4D-E835E7D5C4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1382" y="3826964"/>
            <a:ext cx="1065983" cy="46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Equity</a:t>
            </a:r>
          </a:p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10,500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5C01693-BA2C-FA49-0485-B373E5509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4598" y="2021023"/>
            <a:ext cx="615589" cy="2673769"/>
          </a:xfrm>
          <a:prstGeom prst="rect">
            <a:avLst/>
          </a:prstGeom>
        </p:spPr>
      </p:pic>
      <p:sp>
        <p:nvSpPr>
          <p:cNvPr id="14" name="Rectangle 8">
            <a:extLst>
              <a:ext uri="{FF2B5EF4-FFF2-40B4-BE49-F238E27FC236}">
                <a16:creationId xmlns:a16="http://schemas.microsoft.com/office/drawing/2014/main" id="{5B02C136-10A0-A2A6-5D29-A0D0DAB9AE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156" y="3373797"/>
            <a:ext cx="2392981" cy="307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Estimated Resale - $20,000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CCF261E5-FA19-E93D-DD12-18C995689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378" y="4468871"/>
            <a:ext cx="219483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Unpaid Principal - $9,50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45754F-53EC-DC1B-1A4C-26BEBA033F5B}"/>
              </a:ext>
            </a:extLst>
          </p:cNvPr>
          <p:cNvSpPr txBox="1"/>
          <p:nvPr/>
        </p:nvSpPr>
        <p:spPr>
          <a:xfrm>
            <a:off x="2631148" y="2303175"/>
            <a:ext cx="1056938" cy="830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310">
              <a:defRPr/>
            </a:pPr>
            <a:r>
              <a:rPr lang="en-US" sz="1200" b="1" dirty="0">
                <a:solidFill>
                  <a:prstClr val="white"/>
                </a:solidFill>
                <a:latin typeface="Calibri"/>
              </a:rPr>
              <a:t>Equity Lease- Total Depreciation $30,000</a:t>
            </a: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D184898E-CFE4-6CB9-5E03-AEE2F5D1B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0185" y="2933439"/>
            <a:ext cx="2579544" cy="95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60 months *1.35% Monthly Depreciation = 81% of Delivered Price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($675/month in Principal) 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id="{ECAD9456-707D-0452-9D33-B5EA97675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7931" y="6152851"/>
            <a:ext cx="4056469" cy="307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0 Loan Balance ($835/month in Principal) </a:t>
            </a: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65391588-FAD1-4247-62F3-35097E444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4892" y="1203446"/>
            <a:ext cx="24978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Delivered Price - $50,0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49A3FF-F69B-AE20-9064-28DB4A082EE4}"/>
              </a:ext>
            </a:extLst>
          </p:cNvPr>
          <p:cNvSpPr txBox="1"/>
          <p:nvPr/>
        </p:nvSpPr>
        <p:spPr>
          <a:xfrm>
            <a:off x="2591381" y="5026196"/>
            <a:ext cx="1108400" cy="7384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310"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Traditional Finance </a:t>
            </a:r>
            <a:r>
              <a:rPr lang="en-US" sz="1400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Calibri"/>
              </a:rPr>
              <a:t>$50,00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93D2A1B-4F6F-BF42-7E75-114DC5E2DA26}"/>
              </a:ext>
            </a:extLst>
          </p:cNvPr>
          <p:cNvSpPr/>
          <p:nvPr/>
        </p:nvSpPr>
        <p:spPr>
          <a:xfrm>
            <a:off x="7612798" y="1096528"/>
            <a:ext cx="4453151" cy="5581538"/>
          </a:xfrm>
          <a:prstGeom prst="rect">
            <a:avLst/>
          </a:prstGeom>
          <a:solidFill>
            <a:srgbClr val="07985C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433F6A66-3B6A-E1CD-698C-C004A80FC216}"/>
              </a:ext>
            </a:extLst>
          </p:cNvPr>
          <p:cNvSpPr txBox="1">
            <a:spLocks/>
          </p:cNvSpPr>
          <p:nvPr/>
        </p:nvSpPr>
        <p:spPr>
          <a:xfrm>
            <a:off x="7612799" y="1196368"/>
            <a:ext cx="4532097" cy="3751941"/>
          </a:xfrm>
          <a:prstGeom prst="rect">
            <a:avLst/>
          </a:prstGeom>
        </p:spPr>
        <p:txBody>
          <a:bodyPr/>
          <a:lstStyle>
            <a:lvl1pPr marL="336550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90563" indent="-354013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27113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9538" indent="-352425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16088" indent="-336550" algn="l" defTabSz="609493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ring Funding Options</a:t>
            </a:r>
          </a:p>
          <a:p>
            <a:pPr marL="0" marR="0" lvl="0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quity Lease</a:t>
            </a: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ng vehicle down to a residual instead of $0 at term.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es monthly principal payment by $160 compared to Finance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$9,500 of unpaid principal at term, can be satisfied by extension, equity roll or payoff</a:t>
            </a:r>
          </a:p>
          <a:p>
            <a:pPr marL="0" marR="0" lvl="1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e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es full amount of the vehicle over the term 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any owns the asset at end of term</a:t>
            </a:r>
          </a:p>
          <a:p>
            <a:pPr marL="0" marR="0" lvl="1" indent="0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h Buy</a:t>
            </a:r>
          </a:p>
          <a:p>
            <a:pPr marL="690356" marR="0" lvl="1" indent="-353907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y full amount of vehicle upfront, own throughout life cycle</a:t>
            </a: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36449" marR="0" lvl="0" indent="-336449" algn="l" defTabSz="609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" name="Picture 8" descr="New 2022 Ford F-150 Platinum SuperCrew® in Rifle #F22276 | Columbine Ford">
            <a:extLst>
              <a:ext uri="{FF2B5EF4-FFF2-40B4-BE49-F238E27FC236}">
                <a16:creationId xmlns:a16="http://schemas.microsoft.com/office/drawing/2014/main" id="{49D61F73-E4DB-3D29-3A98-0228EED49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344626" y="889624"/>
            <a:ext cx="2958843" cy="221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8">
            <a:extLst>
              <a:ext uri="{FF2B5EF4-FFF2-40B4-BE49-F238E27FC236}">
                <a16:creationId xmlns:a16="http://schemas.microsoft.com/office/drawing/2014/main" id="{E772404E-8D15-E321-002A-7CE8011E7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0187" y="4021173"/>
            <a:ext cx="2440567" cy="1815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00A664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A664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A664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A664"/>
              </a:buClr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664"/>
              </a:buClr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Equity Roll Impact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50,000 Factory Invoice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-$10,500 Equity Roll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39,500 Delivered Price</a:t>
            </a:r>
          </a:p>
          <a:p>
            <a:pPr marL="0" marR="0" lvl="0" indent="0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$533/month in Principal</a:t>
            </a:r>
          </a:p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  <a:p>
            <a:pPr marL="0" marR="0" lvl="0" indent="0" algn="ctr" defTabSz="60931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02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5D4598-6A53-4B79-B361-822EA2CFFB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"/>
                    </a14:imgEffect>
                  </a14:imgLayer>
                </a14:imgProps>
              </a:ext>
            </a:extLst>
          </a:blip>
          <a:srcRect l="1378" r="465"/>
          <a:stretch/>
        </p:blipFill>
        <p:spPr>
          <a:xfrm>
            <a:off x="3176" y="1223218"/>
            <a:ext cx="12185651" cy="434782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95" y="122770"/>
            <a:ext cx="1811225" cy="603742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5D3CB5F-D500-4F02-8B63-2883A299D3EE}"/>
              </a:ext>
            </a:extLst>
          </p:cNvPr>
          <p:cNvSpPr/>
          <p:nvPr/>
        </p:nvSpPr>
        <p:spPr>
          <a:xfrm rot="1380000">
            <a:off x="6609159" y="998635"/>
            <a:ext cx="5092340" cy="488597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C60FC4B-FD06-43DC-AFF1-65AC5095364F}"/>
              </a:ext>
            </a:extLst>
          </p:cNvPr>
          <p:cNvSpPr/>
          <p:nvPr/>
        </p:nvSpPr>
        <p:spPr>
          <a:xfrm rot="2700000">
            <a:off x="6543721" y="1037390"/>
            <a:ext cx="5109624" cy="4885977"/>
          </a:xfrm>
          <a:prstGeom prst="roundRect">
            <a:avLst/>
          </a:prstGeom>
          <a:solidFill>
            <a:srgbClr val="00A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B2B4BE8-815C-47F4-9462-09FE2ABA066A}"/>
              </a:ext>
            </a:extLst>
          </p:cNvPr>
          <p:cNvSpPr/>
          <p:nvPr/>
        </p:nvSpPr>
        <p:spPr>
          <a:xfrm rot="20458057">
            <a:off x="6696041" y="1189710"/>
            <a:ext cx="5109624" cy="488597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8D283-C420-427B-AA1C-31D72D2F90DE}"/>
              </a:ext>
            </a:extLst>
          </p:cNvPr>
          <p:cNvSpPr txBox="1"/>
          <p:nvPr/>
        </p:nvSpPr>
        <p:spPr>
          <a:xfrm>
            <a:off x="6756602" y="2335302"/>
            <a:ext cx="4988501" cy="212365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Poppins" pitchFamily="2" charset="77"/>
              </a:rPr>
              <a:t>IMPACT ON TCO</a:t>
            </a:r>
          </a:p>
        </p:txBody>
      </p:sp>
      <p:sp>
        <p:nvSpPr>
          <p:cNvPr id="56" name="Freeform 3">
            <a:extLst>
              <a:ext uri="{FF2B5EF4-FFF2-40B4-BE49-F238E27FC236}">
                <a16:creationId xmlns:a16="http://schemas.microsoft.com/office/drawing/2014/main" id="{55E9462C-9030-451C-98D5-11E64E8F1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199" y="5900127"/>
            <a:ext cx="448463" cy="650398"/>
          </a:xfrm>
          <a:custGeom>
            <a:avLst/>
            <a:gdLst>
              <a:gd name="connsiteX0" fmla="*/ 7029 w 377653"/>
              <a:gd name="connsiteY0" fmla="*/ 524585 h 547704"/>
              <a:gd name="connsiteX1" fmla="*/ 14058 w 377653"/>
              <a:gd name="connsiteY1" fmla="*/ 531361 h 547704"/>
              <a:gd name="connsiteX2" fmla="*/ 14058 w 377653"/>
              <a:gd name="connsiteY2" fmla="*/ 540928 h 547704"/>
              <a:gd name="connsiteX3" fmla="*/ 7029 w 377653"/>
              <a:gd name="connsiteY3" fmla="*/ 547704 h 547704"/>
              <a:gd name="connsiteX4" fmla="*/ 0 w 377653"/>
              <a:gd name="connsiteY4" fmla="*/ 540928 h 547704"/>
              <a:gd name="connsiteX5" fmla="*/ 0 w 377653"/>
              <a:gd name="connsiteY5" fmla="*/ 531361 h 547704"/>
              <a:gd name="connsiteX6" fmla="*/ 7029 w 377653"/>
              <a:gd name="connsiteY6" fmla="*/ 524585 h 547704"/>
              <a:gd name="connsiteX7" fmla="*/ 45138 w 377653"/>
              <a:gd name="connsiteY7" fmla="*/ 513120 h 547704"/>
              <a:gd name="connsiteX8" fmla="*/ 45138 w 377653"/>
              <a:gd name="connsiteY8" fmla="*/ 524588 h 547704"/>
              <a:gd name="connsiteX9" fmla="*/ 51714 w 377653"/>
              <a:gd name="connsiteY9" fmla="*/ 531550 h 547704"/>
              <a:gd name="connsiteX10" fmla="*/ 356691 w 377653"/>
              <a:gd name="connsiteY10" fmla="*/ 531550 h 547704"/>
              <a:gd name="connsiteX11" fmla="*/ 363267 w 377653"/>
              <a:gd name="connsiteY11" fmla="*/ 524588 h 547704"/>
              <a:gd name="connsiteX12" fmla="*/ 363267 w 377653"/>
              <a:gd name="connsiteY12" fmla="*/ 513120 h 547704"/>
              <a:gd name="connsiteX13" fmla="*/ 356691 w 377653"/>
              <a:gd name="connsiteY13" fmla="*/ 514349 h 547704"/>
              <a:gd name="connsiteX14" fmla="*/ 51714 w 377653"/>
              <a:gd name="connsiteY14" fmla="*/ 514349 h 547704"/>
              <a:gd name="connsiteX15" fmla="*/ 45138 w 377653"/>
              <a:gd name="connsiteY15" fmla="*/ 513120 h 547704"/>
              <a:gd name="connsiteX16" fmla="*/ 7029 w 377653"/>
              <a:gd name="connsiteY16" fmla="*/ 454039 h 547704"/>
              <a:gd name="connsiteX17" fmla="*/ 14058 w 377653"/>
              <a:gd name="connsiteY17" fmla="*/ 460963 h 547704"/>
              <a:gd name="connsiteX18" fmla="*/ 14058 w 377653"/>
              <a:gd name="connsiteY18" fmla="*/ 508210 h 547704"/>
              <a:gd name="connsiteX19" fmla="*/ 7029 w 377653"/>
              <a:gd name="connsiteY19" fmla="*/ 515134 h 547704"/>
              <a:gd name="connsiteX20" fmla="*/ 0 w 377653"/>
              <a:gd name="connsiteY20" fmla="*/ 508210 h 547704"/>
              <a:gd name="connsiteX21" fmla="*/ 0 w 377653"/>
              <a:gd name="connsiteY21" fmla="*/ 460963 h 547704"/>
              <a:gd name="connsiteX22" fmla="*/ 7029 w 377653"/>
              <a:gd name="connsiteY22" fmla="*/ 454039 h 547704"/>
              <a:gd name="connsiteX23" fmla="*/ 256626 w 377653"/>
              <a:gd name="connsiteY23" fmla="*/ 437758 h 547704"/>
              <a:gd name="connsiteX24" fmla="*/ 337685 w 377653"/>
              <a:gd name="connsiteY24" fmla="*/ 437758 h 547704"/>
              <a:gd name="connsiteX25" fmla="*/ 345092 w 377653"/>
              <a:gd name="connsiteY25" fmla="*/ 444591 h 547704"/>
              <a:gd name="connsiteX26" fmla="*/ 337685 w 377653"/>
              <a:gd name="connsiteY26" fmla="*/ 451827 h 547704"/>
              <a:gd name="connsiteX27" fmla="*/ 256626 w 377653"/>
              <a:gd name="connsiteY27" fmla="*/ 451827 h 547704"/>
              <a:gd name="connsiteX28" fmla="*/ 249631 w 377653"/>
              <a:gd name="connsiteY28" fmla="*/ 444591 h 547704"/>
              <a:gd name="connsiteX29" fmla="*/ 256626 w 377653"/>
              <a:gd name="connsiteY29" fmla="*/ 437758 h 547704"/>
              <a:gd name="connsiteX30" fmla="*/ 256626 w 377653"/>
              <a:gd name="connsiteY30" fmla="*/ 390726 h 547704"/>
              <a:gd name="connsiteX31" fmla="*/ 337685 w 377653"/>
              <a:gd name="connsiteY31" fmla="*/ 390726 h 547704"/>
              <a:gd name="connsiteX32" fmla="*/ 345092 w 377653"/>
              <a:gd name="connsiteY32" fmla="*/ 397961 h 547704"/>
              <a:gd name="connsiteX33" fmla="*/ 337685 w 377653"/>
              <a:gd name="connsiteY33" fmla="*/ 404795 h 547704"/>
              <a:gd name="connsiteX34" fmla="*/ 256626 w 377653"/>
              <a:gd name="connsiteY34" fmla="*/ 404795 h 547704"/>
              <a:gd name="connsiteX35" fmla="*/ 249631 w 377653"/>
              <a:gd name="connsiteY35" fmla="*/ 397961 h 547704"/>
              <a:gd name="connsiteX36" fmla="*/ 256626 w 377653"/>
              <a:gd name="connsiteY36" fmla="*/ 390726 h 547704"/>
              <a:gd name="connsiteX37" fmla="*/ 189570 w 377653"/>
              <a:gd name="connsiteY37" fmla="*/ 390183 h 547704"/>
              <a:gd name="connsiteX38" fmla="*/ 189570 w 377653"/>
              <a:gd name="connsiteY38" fmla="*/ 439620 h 547704"/>
              <a:gd name="connsiteX39" fmla="*/ 203462 w 377653"/>
              <a:gd name="connsiteY39" fmla="*/ 439208 h 547704"/>
              <a:gd name="connsiteX40" fmla="*/ 203462 w 377653"/>
              <a:gd name="connsiteY40" fmla="*/ 390183 h 547704"/>
              <a:gd name="connsiteX41" fmla="*/ 95591 w 377653"/>
              <a:gd name="connsiteY41" fmla="*/ 358460 h 547704"/>
              <a:gd name="connsiteX42" fmla="*/ 95591 w 377653"/>
              <a:gd name="connsiteY42" fmla="*/ 439620 h 547704"/>
              <a:gd name="connsiteX43" fmla="*/ 109892 w 377653"/>
              <a:gd name="connsiteY43" fmla="*/ 439620 h 547704"/>
              <a:gd name="connsiteX44" fmla="*/ 109892 w 377653"/>
              <a:gd name="connsiteY44" fmla="*/ 358460 h 547704"/>
              <a:gd name="connsiteX45" fmla="*/ 256575 w 377653"/>
              <a:gd name="connsiteY45" fmla="*/ 343694 h 547704"/>
              <a:gd name="connsiteX46" fmla="*/ 305591 w 377653"/>
              <a:gd name="connsiteY46" fmla="*/ 343694 h 547704"/>
              <a:gd name="connsiteX47" fmla="*/ 312535 w 377653"/>
              <a:gd name="connsiteY47" fmla="*/ 350929 h 547704"/>
              <a:gd name="connsiteX48" fmla="*/ 305591 w 377653"/>
              <a:gd name="connsiteY48" fmla="*/ 357763 h 547704"/>
              <a:gd name="connsiteX49" fmla="*/ 256575 w 377653"/>
              <a:gd name="connsiteY49" fmla="*/ 357763 h 547704"/>
              <a:gd name="connsiteX50" fmla="*/ 249631 w 377653"/>
              <a:gd name="connsiteY50" fmla="*/ 350929 h 547704"/>
              <a:gd name="connsiteX51" fmla="*/ 256575 w 377653"/>
              <a:gd name="connsiteY51" fmla="*/ 343694 h 547704"/>
              <a:gd name="connsiteX52" fmla="*/ 142989 w 377653"/>
              <a:gd name="connsiteY52" fmla="*/ 326737 h 547704"/>
              <a:gd name="connsiteX53" fmla="*/ 142989 w 377653"/>
              <a:gd name="connsiteY53" fmla="*/ 439620 h 547704"/>
              <a:gd name="connsiteX54" fmla="*/ 156473 w 377653"/>
              <a:gd name="connsiteY54" fmla="*/ 439620 h 547704"/>
              <a:gd name="connsiteX55" fmla="*/ 156473 w 377653"/>
              <a:gd name="connsiteY55" fmla="*/ 327149 h 547704"/>
              <a:gd name="connsiteX56" fmla="*/ 70257 w 377653"/>
              <a:gd name="connsiteY56" fmla="*/ 296663 h 547704"/>
              <a:gd name="connsiteX57" fmla="*/ 77204 w 377653"/>
              <a:gd name="connsiteY57" fmla="*/ 303666 h 547704"/>
              <a:gd name="connsiteX58" fmla="*/ 77204 w 377653"/>
              <a:gd name="connsiteY58" fmla="*/ 439620 h 547704"/>
              <a:gd name="connsiteX59" fmla="*/ 81698 w 377653"/>
              <a:gd name="connsiteY59" fmla="*/ 439620 h 547704"/>
              <a:gd name="connsiteX60" fmla="*/ 81698 w 377653"/>
              <a:gd name="connsiteY60" fmla="*/ 355988 h 547704"/>
              <a:gd name="connsiteX61" fmla="*/ 93548 w 377653"/>
              <a:gd name="connsiteY61" fmla="*/ 344041 h 547704"/>
              <a:gd name="connsiteX62" fmla="*/ 112344 w 377653"/>
              <a:gd name="connsiteY62" fmla="*/ 344041 h 547704"/>
              <a:gd name="connsiteX63" fmla="*/ 123785 w 377653"/>
              <a:gd name="connsiteY63" fmla="*/ 355988 h 547704"/>
              <a:gd name="connsiteX64" fmla="*/ 123785 w 377653"/>
              <a:gd name="connsiteY64" fmla="*/ 439620 h 547704"/>
              <a:gd name="connsiteX65" fmla="*/ 128279 w 377653"/>
              <a:gd name="connsiteY65" fmla="*/ 439620 h 547704"/>
              <a:gd name="connsiteX66" fmla="*/ 128279 w 377653"/>
              <a:gd name="connsiteY66" fmla="*/ 324266 h 547704"/>
              <a:gd name="connsiteX67" fmla="*/ 131957 w 377653"/>
              <a:gd name="connsiteY67" fmla="*/ 316026 h 547704"/>
              <a:gd name="connsiteX68" fmla="*/ 140129 w 377653"/>
              <a:gd name="connsiteY68" fmla="*/ 312730 h 547704"/>
              <a:gd name="connsiteX69" fmla="*/ 159333 w 377653"/>
              <a:gd name="connsiteY69" fmla="*/ 312730 h 547704"/>
              <a:gd name="connsiteX70" fmla="*/ 170774 w 377653"/>
              <a:gd name="connsiteY70" fmla="*/ 324266 h 547704"/>
              <a:gd name="connsiteX71" fmla="*/ 170774 w 377653"/>
              <a:gd name="connsiteY71" fmla="*/ 439620 h 547704"/>
              <a:gd name="connsiteX72" fmla="*/ 175269 w 377653"/>
              <a:gd name="connsiteY72" fmla="*/ 439620 h 547704"/>
              <a:gd name="connsiteX73" fmla="*/ 175269 w 377653"/>
              <a:gd name="connsiteY73" fmla="*/ 387711 h 547704"/>
              <a:gd name="connsiteX74" fmla="*/ 187118 w 377653"/>
              <a:gd name="connsiteY74" fmla="*/ 375763 h 547704"/>
              <a:gd name="connsiteX75" fmla="*/ 206323 w 377653"/>
              <a:gd name="connsiteY75" fmla="*/ 375763 h 547704"/>
              <a:gd name="connsiteX76" fmla="*/ 217764 w 377653"/>
              <a:gd name="connsiteY76" fmla="*/ 387711 h 547704"/>
              <a:gd name="connsiteX77" fmla="*/ 217764 w 377653"/>
              <a:gd name="connsiteY77" fmla="*/ 439208 h 547704"/>
              <a:gd name="connsiteX78" fmla="*/ 229205 w 377653"/>
              <a:gd name="connsiteY78" fmla="*/ 439208 h 547704"/>
              <a:gd name="connsiteX79" fmla="*/ 236559 w 377653"/>
              <a:gd name="connsiteY79" fmla="*/ 446624 h 547704"/>
              <a:gd name="connsiteX80" fmla="*/ 229205 w 377653"/>
              <a:gd name="connsiteY80" fmla="*/ 453628 h 547704"/>
              <a:gd name="connsiteX81" fmla="*/ 211635 w 377653"/>
              <a:gd name="connsiteY81" fmla="*/ 453628 h 547704"/>
              <a:gd name="connsiteX82" fmla="*/ 209592 w 377653"/>
              <a:gd name="connsiteY82" fmla="*/ 453628 h 547704"/>
              <a:gd name="connsiteX83" fmla="*/ 183032 w 377653"/>
              <a:gd name="connsiteY83" fmla="*/ 453628 h 547704"/>
              <a:gd name="connsiteX84" fmla="*/ 181806 w 377653"/>
              <a:gd name="connsiteY84" fmla="*/ 453628 h 547704"/>
              <a:gd name="connsiteX85" fmla="*/ 164645 w 377653"/>
              <a:gd name="connsiteY85" fmla="*/ 453628 h 547704"/>
              <a:gd name="connsiteX86" fmla="*/ 163011 w 377653"/>
              <a:gd name="connsiteY86" fmla="*/ 453628 h 547704"/>
              <a:gd name="connsiteX87" fmla="*/ 136451 w 377653"/>
              <a:gd name="connsiteY87" fmla="*/ 453628 h 547704"/>
              <a:gd name="connsiteX88" fmla="*/ 134408 w 377653"/>
              <a:gd name="connsiteY88" fmla="*/ 453628 h 547704"/>
              <a:gd name="connsiteX89" fmla="*/ 117655 w 377653"/>
              <a:gd name="connsiteY89" fmla="*/ 453628 h 547704"/>
              <a:gd name="connsiteX90" fmla="*/ 116430 w 377653"/>
              <a:gd name="connsiteY90" fmla="*/ 453628 h 547704"/>
              <a:gd name="connsiteX91" fmla="*/ 89462 w 377653"/>
              <a:gd name="connsiteY91" fmla="*/ 453628 h 547704"/>
              <a:gd name="connsiteX92" fmla="*/ 87827 w 377653"/>
              <a:gd name="connsiteY92" fmla="*/ 453628 h 547704"/>
              <a:gd name="connsiteX93" fmla="*/ 77204 w 377653"/>
              <a:gd name="connsiteY93" fmla="*/ 453628 h 547704"/>
              <a:gd name="connsiteX94" fmla="*/ 63311 w 377653"/>
              <a:gd name="connsiteY94" fmla="*/ 439620 h 547704"/>
              <a:gd name="connsiteX95" fmla="*/ 63311 w 377653"/>
              <a:gd name="connsiteY95" fmla="*/ 303666 h 547704"/>
              <a:gd name="connsiteX96" fmla="*/ 70257 w 377653"/>
              <a:gd name="connsiteY96" fmla="*/ 296663 h 547704"/>
              <a:gd name="connsiteX97" fmla="*/ 70276 w 377653"/>
              <a:gd name="connsiteY97" fmla="*/ 247822 h 547704"/>
              <a:gd name="connsiteX98" fmla="*/ 164476 w 377653"/>
              <a:gd name="connsiteY98" fmla="*/ 247822 h 547704"/>
              <a:gd name="connsiteX99" fmla="*/ 171439 w 377653"/>
              <a:gd name="connsiteY99" fmla="*/ 255057 h 547704"/>
              <a:gd name="connsiteX100" fmla="*/ 164476 w 377653"/>
              <a:gd name="connsiteY100" fmla="*/ 261891 h 547704"/>
              <a:gd name="connsiteX101" fmla="*/ 70276 w 377653"/>
              <a:gd name="connsiteY101" fmla="*/ 261891 h 547704"/>
              <a:gd name="connsiteX102" fmla="*/ 63313 w 377653"/>
              <a:gd name="connsiteY102" fmla="*/ 255057 h 547704"/>
              <a:gd name="connsiteX103" fmla="*/ 70276 w 377653"/>
              <a:gd name="connsiteY103" fmla="*/ 247822 h 547704"/>
              <a:gd name="connsiteX104" fmla="*/ 70276 w 377653"/>
              <a:gd name="connsiteY104" fmla="*/ 200790 h 547704"/>
              <a:gd name="connsiteX105" fmla="*/ 164476 w 377653"/>
              <a:gd name="connsiteY105" fmla="*/ 200790 h 547704"/>
              <a:gd name="connsiteX106" fmla="*/ 171439 w 377653"/>
              <a:gd name="connsiteY106" fmla="*/ 207830 h 547704"/>
              <a:gd name="connsiteX107" fmla="*/ 164476 w 377653"/>
              <a:gd name="connsiteY107" fmla="*/ 214870 h 547704"/>
              <a:gd name="connsiteX108" fmla="*/ 70276 w 377653"/>
              <a:gd name="connsiteY108" fmla="*/ 214870 h 547704"/>
              <a:gd name="connsiteX109" fmla="*/ 63313 w 377653"/>
              <a:gd name="connsiteY109" fmla="*/ 207830 h 547704"/>
              <a:gd name="connsiteX110" fmla="*/ 70276 w 377653"/>
              <a:gd name="connsiteY110" fmla="*/ 200790 h 547704"/>
              <a:gd name="connsiteX111" fmla="*/ 70222 w 377653"/>
              <a:gd name="connsiteY111" fmla="*/ 153758 h 547704"/>
              <a:gd name="connsiteX112" fmla="*/ 147846 w 377653"/>
              <a:gd name="connsiteY112" fmla="*/ 153758 h 547704"/>
              <a:gd name="connsiteX113" fmla="*/ 155162 w 377653"/>
              <a:gd name="connsiteY113" fmla="*/ 160591 h 547704"/>
              <a:gd name="connsiteX114" fmla="*/ 147846 w 377653"/>
              <a:gd name="connsiteY114" fmla="*/ 167827 h 547704"/>
              <a:gd name="connsiteX115" fmla="*/ 70222 w 377653"/>
              <a:gd name="connsiteY115" fmla="*/ 167827 h 547704"/>
              <a:gd name="connsiteX116" fmla="*/ 63313 w 377653"/>
              <a:gd name="connsiteY116" fmla="*/ 160591 h 547704"/>
              <a:gd name="connsiteX117" fmla="*/ 70222 w 377653"/>
              <a:gd name="connsiteY117" fmla="*/ 153758 h 547704"/>
              <a:gd name="connsiteX118" fmla="*/ 285369 w 377653"/>
              <a:gd name="connsiteY118" fmla="*/ 145024 h 547704"/>
              <a:gd name="connsiteX119" fmla="*/ 285369 w 377653"/>
              <a:gd name="connsiteY119" fmla="*/ 195529 h 547704"/>
              <a:gd name="connsiteX120" fmla="*/ 280869 w 377653"/>
              <a:gd name="connsiteY120" fmla="*/ 206616 h 547704"/>
              <a:gd name="connsiteX121" fmla="*/ 247733 w 377653"/>
              <a:gd name="connsiteY121" fmla="*/ 239465 h 547704"/>
              <a:gd name="connsiteX122" fmla="*/ 278414 w 377653"/>
              <a:gd name="connsiteY122" fmla="*/ 249320 h 547704"/>
              <a:gd name="connsiteX123" fmla="*/ 330368 w 377653"/>
              <a:gd name="connsiteY123" fmla="*/ 196761 h 547704"/>
              <a:gd name="connsiteX124" fmla="*/ 285369 w 377653"/>
              <a:gd name="connsiteY124" fmla="*/ 145024 h 547704"/>
              <a:gd name="connsiteX125" fmla="*/ 247873 w 377653"/>
              <a:gd name="connsiteY125" fmla="*/ 132284 h 547704"/>
              <a:gd name="connsiteX126" fmla="*/ 202137 w 377653"/>
              <a:gd name="connsiteY126" fmla="*/ 184159 h 547704"/>
              <a:gd name="connsiteX127" fmla="*/ 214086 w 377653"/>
              <a:gd name="connsiteY127" fmla="*/ 216428 h 547704"/>
              <a:gd name="connsiteX128" fmla="*/ 247461 w 377653"/>
              <a:gd name="connsiteY128" fmla="*/ 183342 h 547704"/>
              <a:gd name="connsiteX129" fmla="*/ 247873 w 377653"/>
              <a:gd name="connsiteY129" fmla="*/ 182525 h 547704"/>
              <a:gd name="connsiteX130" fmla="*/ 278414 w 377653"/>
              <a:gd name="connsiteY130" fmla="*/ 130242 h 547704"/>
              <a:gd name="connsiteX131" fmla="*/ 345095 w 377653"/>
              <a:gd name="connsiteY131" fmla="*/ 196761 h 547704"/>
              <a:gd name="connsiteX132" fmla="*/ 278414 w 377653"/>
              <a:gd name="connsiteY132" fmla="*/ 263691 h 547704"/>
              <a:gd name="connsiteX133" fmla="*/ 234642 w 377653"/>
              <a:gd name="connsiteY133" fmla="*/ 246856 h 547704"/>
              <a:gd name="connsiteX134" fmla="*/ 233415 w 377653"/>
              <a:gd name="connsiteY134" fmla="*/ 245624 h 547704"/>
              <a:gd name="connsiteX135" fmla="*/ 232597 w 377653"/>
              <a:gd name="connsiteY135" fmla="*/ 245214 h 547704"/>
              <a:gd name="connsiteX136" fmla="*/ 232597 w 377653"/>
              <a:gd name="connsiteY136" fmla="*/ 234948 h 547704"/>
              <a:gd name="connsiteX137" fmla="*/ 271051 w 377653"/>
              <a:gd name="connsiteY137" fmla="*/ 196351 h 547704"/>
              <a:gd name="connsiteX138" fmla="*/ 271051 w 377653"/>
              <a:gd name="connsiteY138" fmla="*/ 195529 h 547704"/>
              <a:gd name="connsiteX139" fmla="*/ 271051 w 377653"/>
              <a:gd name="connsiteY139" fmla="*/ 137222 h 547704"/>
              <a:gd name="connsiteX140" fmla="*/ 278414 w 377653"/>
              <a:gd name="connsiteY140" fmla="*/ 130242 h 547704"/>
              <a:gd name="connsiteX141" fmla="*/ 246637 w 377653"/>
              <a:gd name="connsiteY141" fmla="*/ 117988 h 547704"/>
              <a:gd name="connsiteX142" fmla="*/ 257350 w 377653"/>
              <a:gd name="connsiteY142" fmla="*/ 121256 h 547704"/>
              <a:gd name="connsiteX143" fmla="*/ 261882 w 377653"/>
              <a:gd name="connsiteY143" fmla="*/ 131467 h 547704"/>
              <a:gd name="connsiteX144" fmla="*/ 261882 w 377653"/>
              <a:gd name="connsiteY144" fmla="*/ 182525 h 547704"/>
              <a:gd name="connsiteX145" fmla="*/ 257350 w 377653"/>
              <a:gd name="connsiteY145" fmla="*/ 193145 h 547704"/>
              <a:gd name="connsiteX146" fmla="*/ 223975 w 377653"/>
              <a:gd name="connsiteY146" fmla="*/ 227048 h 547704"/>
              <a:gd name="connsiteX147" fmla="*/ 213674 w 377653"/>
              <a:gd name="connsiteY147" fmla="*/ 231132 h 547704"/>
              <a:gd name="connsiteX148" fmla="*/ 212850 w 377653"/>
              <a:gd name="connsiteY148" fmla="*/ 230724 h 547704"/>
              <a:gd name="connsiteX149" fmla="*/ 203373 w 377653"/>
              <a:gd name="connsiteY149" fmla="*/ 225822 h 547704"/>
              <a:gd name="connsiteX150" fmla="*/ 188128 w 377653"/>
              <a:gd name="connsiteY150" fmla="*/ 184159 h 547704"/>
              <a:gd name="connsiteX151" fmla="*/ 246637 w 377653"/>
              <a:gd name="connsiteY151" fmla="*/ 117988 h 547704"/>
              <a:gd name="connsiteX152" fmla="*/ 274487 w 377653"/>
              <a:gd name="connsiteY152" fmla="*/ 34367 h 547704"/>
              <a:gd name="connsiteX153" fmla="*/ 274487 w 377653"/>
              <a:gd name="connsiteY153" fmla="*/ 56073 h 547704"/>
              <a:gd name="connsiteX154" fmla="*/ 308602 w 377653"/>
              <a:gd name="connsiteY154" fmla="*/ 90065 h 547704"/>
              <a:gd name="connsiteX155" fmla="*/ 348882 w 377653"/>
              <a:gd name="connsiteY155" fmla="*/ 90065 h 547704"/>
              <a:gd name="connsiteX156" fmla="*/ 51714 w 377653"/>
              <a:gd name="connsiteY156" fmla="*/ 26996 h 547704"/>
              <a:gd name="connsiteX157" fmla="*/ 45138 w 377653"/>
              <a:gd name="connsiteY157" fmla="*/ 33958 h 547704"/>
              <a:gd name="connsiteX158" fmla="*/ 45138 w 377653"/>
              <a:gd name="connsiteY158" fmla="*/ 389029 h 547704"/>
              <a:gd name="connsiteX159" fmla="*/ 45138 w 377653"/>
              <a:gd name="connsiteY159" fmla="*/ 493462 h 547704"/>
              <a:gd name="connsiteX160" fmla="*/ 51714 w 377653"/>
              <a:gd name="connsiteY160" fmla="*/ 500015 h 547704"/>
              <a:gd name="connsiteX161" fmla="*/ 356691 w 377653"/>
              <a:gd name="connsiteY161" fmla="*/ 500015 h 547704"/>
              <a:gd name="connsiteX162" fmla="*/ 363267 w 377653"/>
              <a:gd name="connsiteY162" fmla="*/ 493462 h 547704"/>
              <a:gd name="connsiteX163" fmla="*/ 363267 w 377653"/>
              <a:gd name="connsiteY163" fmla="*/ 452098 h 547704"/>
              <a:gd name="connsiteX164" fmla="*/ 363267 w 377653"/>
              <a:gd name="connsiteY164" fmla="*/ 104399 h 547704"/>
              <a:gd name="connsiteX165" fmla="*/ 308602 w 377653"/>
              <a:gd name="connsiteY165" fmla="*/ 104399 h 547704"/>
              <a:gd name="connsiteX166" fmla="*/ 260101 w 377653"/>
              <a:gd name="connsiteY166" fmla="*/ 56073 h 547704"/>
              <a:gd name="connsiteX167" fmla="*/ 260101 w 377653"/>
              <a:gd name="connsiteY167" fmla="*/ 26996 h 547704"/>
              <a:gd name="connsiteX168" fmla="*/ 51714 w 377653"/>
              <a:gd name="connsiteY168" fmla="*/ 12662 h 547704"/>
              <a:gd name="connsiteX169" fmla="*/ 266267 w 377653"/>
              <a:gd name="connsiteY169" fmla="*/ 12662 h 547704"/>
              <a:gd name="connsiteX170" fmla="*/ 266267 w 377653"/>
              <a:gd name="connsiteY170" fmla="*/ 13071 h 547704"/>
              <a:gd name="connsiteX171" fmla="*/ 271610 w 377653"/>
              <a:gd name="connsiteY171" fmla="*/ 14300 h 547704"/>
              <a:gd name="connsiteX172" fmla="*/ 374776 w 377653"/>
              <a:gd name="connsiteY172" fmla="*/ 91293 h 547704"/>
              <a:gd name="connsiteX173" fmla="*/ 377653 w 377653"/>
              <a:gd name="connsiteY173" fmla="*/ 97027 h 547704"/>
              <a:gd name="connsiteX174" fmla="*/ 377653 w 377653"/>
              <a:gd name="connsiteY174" fmla="*/ 452098 h 547704"/>
              <a:gd name="connsiteX175" fmla="*/ 377653 w 377653"/>
              <a:gd name="connsiteY175" fmla="*/ 493462 h 547704"/>
              <a:gd name="connsiteX176" fmla="*/ 377653 w 377653"/>
              <a:gd name="connsiteY176" fmla="*/ 524588 h 547704"/>
              <a:gd name="connsiteX177" fmla="*/ 356691 w 377653"/>
              <a:gd name="connsiteY177" fmla="*/ 545884 h 547704"/>
              <a:gd name="connsiteX178" fmla="*/ 51714 w 377653"/>
              <a:gd name="connsiteY178" fmla="*/ 545884 h 547704"/>
              <a:gd name="connsiteX179" fmla="*/ 30752 w 377653"/>
              <a:gd name="connsiteY179" fmla="*/ 524588 h 547704"/>
              <a:gd name="connsiteX180" fmla="*/ 30752 w 377653"/>
              <a:gd name="connsiteY180" fmla="*/ 493462 h 547704"/>
              <a:gd name="connsiteX181" fmla="*/ 30752 w 377653"/>
              <a:gd name="connsiteY181" fmla="*/ 389029 h 547704"/>
              <a:gd name="connsiteX182" fmla="*/ 30752 w 377653"/>
              <a:gd name="connsiteY182" fmla="*/ 33958 h 547704"/>
              <a:gd name="connsiteX183" fmla="*/ 51714 w 377653"/>
              <a:gd name="connsiteY183" fmla="*/ 12662 h 547704"/>
              <a:gd name="connsiteX184" fmla="*/ 345094 w 377653"/>
              <a:gd name="connsiteY184" fmla="*/ 0 h 547704"/>
              <a:gd name="connsiteX185" fmla="*/ 352494 w 377653"/>
              <a:gd name="connsiteY185" fmla="*/ 6989 h 547704"/>
              <a:gd name="connsiteX186" fmla="*/ 352494 w 377653"/>
              <a:gd name="connsiteY186" fmla="*/ 19733 h 547704"/>
              <a:gd name="connsiteX187" fmla="*/ 365238 w 377653"/>
              <a:gd name="connsiteY187" fmla="*/ 19733 h 547704"/>
              <a:gd name="connsiteX188" fmla="*/ 372227 w 377653"/>
              <a:gd name="connsiteY188" fmla="*/ 27133 h 547704"/>
              <a:gd name="connsiteX189" fmla="*/ 365238 w 377653"/>
              <a:gd name="connsiteY189" fmla="*/ 34122 h 547704"/>
              <a:gd name="connsiteX190" fmla="*/ 352494 w 377653"/>
              <a:gd name="connsiteY190" fmla="*/ 34122 h 547704"/>
              <a:gd name="connsiteX191" fmla="*/ 352494 w 377653"/>
              <a:gd name="connsiteY191" fmla="*/ 46867 h 547704"/>
              <a:gd name="connsiteX192" fmla="*/ 345094 w 377653"/>
              <a:gd name="connsiteY192" fmla="*/ 53856 h 547704"/>
              <a:gd name="connsiteX193" fmla="*/ 338105 w 377653"/>
              <a:gd name="connsiteY193" fmla="*/ 46867 h 547704"/>
              <a:gd name="connsiteX194" fmla="*/ 338105 w 377653"/>
              <a:gd name="connsiteY194" fmla="*/ 34122 h 547704"/>
              <a:gd name="connsiteX195" fmla="*/ 325360 w 377653"/>
              <a:gd name="connsiteY195" fmla="*/ 34122 h 547704"/>
              <a:gd name="connsiteX196" fmla="*/ 318371 w 377653"/>
              <a:gd name="connsiteY196" fmla="*/ 27133 h 547704"/>
              <a:gd name="connsiteX197" fmla="*/ 325360 w 377653"/>
              <a:gd name="connsiteY197" fmla="*/ 19733 h 547704"/>
              <a:gd name="connsiteX198" fmla="*/ 338105 w 377653"/>
              <a:gd name="connsiteY198" fmla="*/ 19733 h 547704"/>
              <a:gd name="connsiteX199" fmla="*/ 338105 w 377653"/>
              <a:gd name="connsiteY199" fmla="*/ 6989 h 547704"/>
              <a:gd name="connsiteX200" fmla="*/ 345094 w 377653"/>
              <a:gd name="connsiteY200" fmla="*/ 0 h 547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</a:cxnLst>
            <a:rect l="l" t="t" r="r" b="b"/>
            <a:pathLst>
              <a:path w="377653" h="547704">
                <a:moveTo>
                  <a:pt x="7029" y="524585"/>
                </a:moveTo>
                <a:cubicBezTo>
                  <a:pt x="11163" y="524585"/>
                  <a:pt x="14058" y="527375"/>
                  <a:pt x="14058" y="531361"/>
                </a:cubicBezTo>
                <a:lnTo>
                  <a:pt x="14058" y="540928"/>
                </a:lnTo>
                <a:cubicBezTo>
                  <a:pt x="14058" y="544515"/>
                  <a:pt x="11163" y="547704"/>
                  <a:pt x="7029" y="547704"/>
                </a:cubicBezTo>
                <a:cubicBezTo>
                  <a:pt x="3308" y="547704"/>
                  <a:pt x="0" y="544515"/>
                  <a:pt x="0" y="540928"/>
                </a:cubicBezTo>
                <a:lnTo>
                  <a:pt x="0" y="531361"/>
                </a:lnTo>
                <a:cubicBezTo>
                  <a:pt x="0" y="527375"/>
                  <a:pt x="3308" y="524585"/>
                  <a:pt x="7029" y="524585"/>
                </a:cubicBezTo>
                <a:close/>
                <a:moveTo>
                  <a:pt x="45138" y="513120"/>
                </a:moveTo>
                <a:lnTo>
                  <a:pt x="45138" y="524588"/>
                </a:lnTo>
                <a:cubicBezTo>
                  <a:pt x="45138" y="528683"/>
                  <a:pt x="48015" y="531550"/>
                  <a:pt x="51714" y="531550"/>
                </a:cubicBezTo>
                <a:lnTo>
                  <a:pt x="356691" y="531550"/>
                </a:lnTo>
                <a:cubicBezTo>
                  <a:pt x="359979" y="531550"/>
                  <a:pt x="363267" y="528683"/>
                  <a:pt x="363267" y="524588"/>
                </a:cubicBezTo>
                <a:lnTo>
                  <a:pt x="363267" y="513120"/>
                </a:lnTo>
                <a:cubicBezTo>
                  <a:pt x="361212" y="513530"/>
                  <a:pt x="359157" y="514349"/>
                  <a:pt x="356691" y="514349"/>
                </a:cubicBezTo>
                <a:lnTo>
                  <a:pt x="51714" y="514349"/>
                </a:lnTo>
                <a:cubicBezTo>
                  <a:pt x="49659" y="514349"/>
                  <a:pt x="47193" y="513530"/>
                  <a:pt x="45138" y="513120"/>
                </a:cubicBezTo>
                <a:close/>
                <a:moveTo>
                  <a:pt x="7029" y="454039"/>
                </a:moveTo>
                <a:cubicBezTo>
                  <a:pt x="11163" y="454039"/>
                  <a:pt x="14058" y="457297"/>
                  <a:pt x="14058" y="460963"/>
                </a:cubicBezTo>
                <a:lnTo>
                  <a:pt x="14058" y="508210"/>
                </a:lnTo>
                <a:cubicBezTo>
                  <a:pt x="14058" y="511876"/>
                  <a:pt x="11163" y="515134"/>
                  <a:pt x="7029" y="515134"/>
                </a:cubicBezTo>
                <a:cubicBezTo>
                  <a:pt x="3308" y="515134"/>
                  <a:pt x="0" y="511876"/>
                  <a:pt x="0" y="508210"/>
                </a:cubicBezTo>
                <a:lnTo>
                  <a:pt x="0" y="460963"/>
                </a:lnTo>
                <a:cubicBezTo>
                  <a:pt x="0" y="457297"/>
                  <a:pt x="3308" y="454039"/>
                  <a:pt x="7029" y="454039"/>
                </a:cubicBezTo>
                <a:close/>
                <a:moveTo>
                  <a:pt x="256626" y="437758"/>
                </a:moveTo>
                <a:lnTo>
                  <a:pt x="337685" y="437758"/>
                </a:lnTo>
                <a:cubicBezTo>
                  <a:pt x="341800" y="437758"/>
                  <a:pt x="345092" y="440572"/>
                  <a:pt x="345092" y="444591"/>
                </a:cubicBezTo>
                <a:cubicBezTo>
                  <a:pt x="345092" y="448611"/>
                  <a:pt x="341800" y="451827"/>
                  <a:pt x="337685" y="451827"/>
                </a:cubicBezTo>
                <a:lnTo>
                  <a:pt x="256626" y="451827"/>
                </a:lnTo>
                <a:cubicBezTo>
                  <a:pt x="252923" y="451827"/>
                  <a:pt x="249631" y="448611"/>
                  <a:pt x="249631" y="444591"/>
                </a:cubicBezTo>
                <a:cubicBezTo>
                  <a:pt x="249631" y="440572"/>
                  <a:pt x="252923" y="437758"/>
                  <a:pt x="256626" y="437758"/>
                </a:cubicBezTo>
                <a:close/>
                <a:moveTo>
                  <a:pt x="256626" y="390726"/>
                </a:moveTo>
                <a:lnTo>
                  <a:pt x="337685" y="390726"/>
                </a:lnTo>
                <a:cubicBezTo>
                  <a:pt x="341800" y="390726"/>
                  <a:pt x="345092" y="393942"/>
                  <a:pt x="345092" y="397961"/>
                </a:cubicBezTo>
                <a:cubicBezTo>
                  <a:pt x="345092" y="401579"/>
                  <a:pt x="341800" y="404795"/>
                  <a:pt x="337685" y="404795"/>
                </a:cubicBezTo>
                <a:lnTo>
                  <a:pt x="256626" y="404795"/>
                </a:lnTo>
                <a:cubicBezTo>
                  <a:pt x="252923" y="404795"/>
                  <a:pt x="249631" y="401579"/>
                  <a:pt x="249631" y="397961"/>
                </a:cubicBezTo>
                <a:cubicBezTo>
                  <a:pt x="249631" y="393942"/>
                  <a:pt x="252923" y="390726"/>
                  <a:pt x="256626" y="390726"/>
                </a:cubicBezTo>
                <a:close/>
                <a:moveTo>
                  <a:pt x="189570" y="390183"/>
                </a:moveTo>
                <a:lnTo>
                  <a:pt x="189570" y="439620"/>
                </a:lnTo>
                <a:lnTo>
                  <a:pt x="203462" y="439208"/>
                </a:lnTo>
                <a:lnTo>
                  <a:pt x="203462" y="390183"/>
                </a:lnTo>
                <a:close/>
                <a:moveTo>
                  <a:pt x="95591" y="358460"/>
                </a:moveTo>
                <a:lnTo>
                  <a:pt x="95591" y="439620"/>
                </a:lnTo>
                <a:lnTo>
                  <a:pt x="109892" y="439620"/>
                </a:lnTo>
                <a:lnTo>
                  <a:pt x="109892" y="358460"/>
                </a:lnTo>
                <a:close/>
                <a:moveTo>
                  <a:pt x="256575" y="343694"/>
                </a:moveTo>
                <a:lnTo>
                  <a:pt x="305591" y="343694"/>
                </a:lnTo>
                <a:cubicBezTo>
                  <a:pt x="309675" y="343694"/>
                  <a:pt x="312535" y="346910"/>
                  <a:pt x="312535" y="350929"/>
                </a:cubicBezTo>
                <a:cubicBezTo>
                  <a:pt x="312535" y="354547"/>
                  <a:pt x="309675" y="357763"/>
                  <a:pt x="305591" y="357763"/>
                </a:cubicBezTo>
                <a:lnTo>
                  <a:pt x="256575" y="357763"/>
                </a:lnTo>
                <a:cubicBezTo>
                  <a:pt x="252899" y="357763"/>
                  <a:pt x="249631" y="354547"/>
                  <a:pt x="249631" y="350929"/>
                </a:cubicBezTo>
                <a:cubicBezTo>
                  <a:pt x="249631" y="346910"/>
                  <a:pt x="252899" y="343694"/>
                  <a:pt x="256575" y="343694"/>
                </a:cubicBezTo>
                <a:close/>
                <a:moveTo>
                  <a:pt x="142989" y="326737"/>
                </a:moveTo>
                <a:lnTo>
                  <a:pt x="142989" y="439620"/>
                </a:lnTo>
                <a:lnTo>
                  <a:pt x="156473" y="439620"/>
                </a:lnTo>
                <a:lnTo>
                  <a:pt x="156473" y="327149"/>
                </a:lnTo>
                <a:close/>
                <a:moveTo>
                  <a:pt x="70257" y="296663"/>
                </a:moveTo>
                <a:cubicBezTo>
                  <a:pt x="73935" y="296663"/>
                  <a:pt x="77204" y="299959"/>
                  <a:pt x="77204" y="303666"/>
                </a:cubicBezTo>
                <a:lnTo>
                  <a:pt x="77204" y="439620"/>
                </a:lnTo>
                <a:lnTo>
                  <a:pt x="81698" y="439620"/>
                </a:lnTo>
                <a:lnTo>
                  <a:pt x="81698" y="355988"/>
                </a:lnTo>
                <a:cubicBezTo>
                  <a:pt x="81698" y="349396"/>
                  <a:pt x="87010" y="344041"/>
                  <a:pt x="93548" y="344041"/>
                </a:cubicBezTo>
                <a:lnTo>
                  <a:pt x="112344" y="344041"/>
                </a:lnTo>
                <a:cubicBezTo>
                  <a:pt x="118881" y="344041"/>
                  <a:pt x="123785" y="349396"/>
                  <a:pt x="123785" y="355988"/>
                </a:cubicBezTo>
                <a:lnTo>
                  <a:pt x="123785" y="439620"/>
                </a:lnTo>
                <a:lnTo>
                  <a:pt x="128279" y="439620"/>
                </a:lnTo>
                <a:lnTo>
                  <a:pt x="128279" y="324266"/>
                </a:lnTo>
                <a:cubicBezTo>
                  <a:pt x="128279" y="321382"/>
                  <a:pt x="129505" y="318086"/>
                  <a:pt x="131957" y="316026"/>
                </a:cubicBezTo>
                <a:cubicBezTo>
                  <a:pt x="134000" y="313966"/>
                  <a:pt x="137269" y="312730"/>
                  <a:pt x="140129" y="312730"/>
                </a:cubicBezTo>
                <a:lnTo>
                  <a:pt x="159333" y="312730"/>
                </a:lnTo>
                <a:cubicBezTo>
                  <a:pt x="165462" y="312730"/>
                  <a:pt x="170774" y="317674"/>
                  <a:pt x="170774" y="324266"/>
                </a:cubicBezTo>
                <a:lnTo>
                  <a:pt x="170774" y="439620"/>
                </a:lnTo>
                <a:lnTo>
                  <a:pt x="175269" y="439620"/>
                </a:lnTo>
                <a:lnTo>
                  <a:pt x="175269" y="387711"/>
                </a:lnTo>
                <a:cubicBezTo>
                  <a:pt x="175269" y="381119"/>
                  <a:pt x="180581" y="375763"/>
                  <a:pt x="187118" y="375763"/>
                </a:cubicBezTo>
                <a:lnTo>
                  <a:pt x="206323" y="375763"/>
                </a:lnTo>
                <a:cubicBezTo>
                  <a:pt x="212452" y="375763"/>
                  <a:pt x="217764" y="381119"/>
                  <a:pt x="217764" y="387711"/>
                </a:cubicBezTo>
                <a:lnTo>
                  <a:pt x="217764" y="439208"/>
                </a:lnTo>
                <a:lnTo>
                  <a:pt x="229205" y="439208"/>
                </a:lnTo>
                <a:cubicBezTo>
                  <a:pt x="233291" y="439208"/>
                  <a:pt x="236559" y="442504"/>
                  <a:pt x="236559" y="446624"/>
                </a:cubicBezTo>
                <a:cubicBezTo>
                  <a:pt x="236559" y="450332"/>
                  <a:pt x="233291" y="453628"/>
                  <a:pt x="229205" y="453628"/>
                </a:cubicBezTo>
                <a:lnTo>
                  <a:pt x="211635" y="453628"/>
                </a:lnTo>
                <a:cubicBezTo>
                  <a:pt x="210817" y="453628"/>
                  <a:pt x="210409" y="453628"/>
                  <a:pt x="209592" y="453628"/>
                </a:cubicBezTo>
                <a:lnTo>
                  <a:pt x="183032" y="453628"/>
                </a:lnTo>
                <a:cubicBezTo>
                  <a:pt x="182624" y="453628"/>
                  <a:pt x="181806" y="453628"/>
                  <a:pt x="181806" y="453628"/>
                </a:cubicBezTo>
                <a:lnTo>
                  <a:pt x="164645" y="453628"/>
                </a:lnTo>
                <a:cubicBezTo>
                  <a:pt x="164236" y="453628"/>
                  <a:pt x="163419" y="453628"/>
                  <a:pt x="163011" y="453628"/>
                </a:cubicBezTo>
                <a:lnTo>
                  <a:pt x="136451" y="453628"/>
                </a:lnTo>
                <a:cubicBezTo>
                  <a:pt x="136043" y="453628"/>
                  <a:pt x="135225" y="453628"/>
                  <a:pt x="134408" y="453628"/>
                </a:cubicBezTo>
                <a:lnTo>
                  <a:pt x="117655" y="453628"/>
                </a:lnTo>
                <a:cubicBezTo>
                  <a:pt x="117247" y="453628"/>
                  <a:pt x="116838" y="453628"/>
                  <a:pt x="116430" y="453628"/>
                </a:cubicBezTo>
                <a:lnTo>
                  <a:pt x="89462" y="453628"/>
                </a:lnTo>
                <a:cubicBezTo>
                  <a:pt x="88645" y="453628"/>
                  <a:pt x="88645" y="453628"/>
                  <a:pt x="87827" y="453628"/>
                </a:cubicBezTo>
                <a:lnTo>
                  <a:pt x="77204" y="453628"/>
                </a:lnTo>
                <a:cubicBezTo>
                  <a:pt x="69032" y="453628"/>
                  <a:pt x="63311" y="447448"/>
                  <a:pt x="63311" y="439620"/>
                </a:cubicBezTo>
                <a:lnTo>
                  <a:pt x="63311" y="303666"/>
                </a:lnTo>
                <a:cubicBezTo>
                  <a:pt x="63311" y="299959"/>
                  <a:pt x="66171" y="296663"/>
                  <a:pt x="70257" y="296663"/>
                </a:cubicBezTo>
                <a:close/>
                <a:moveTo>
                  <a:pt x="70276" y="247822"/>
                </a:moveTo>
                <a:lnTo>
                  <a:pt x="164476" y="247822"/>
                </a:lnTo>
                <a:cubicBezTo>
                  <a:pt x="168162" y="247822"/>
                  <a:pt x="171439" y="250636"/>
                  <a:pt x="171439" y="255057"/>
                </a:cubicBezTo>
                <a:cubicBezTo>
                  <a:pt x="171439" y="258675"/>
                  <a:pt x="168162" y="261891"/>
                  <a:pt x="164476" y="261891"/>
                </a:cubicBezTo>
                <a:lnTo>
                  <a:pt x="70276" y="261891"/>
                </a:lnTo>
                <a:cubicBezTo>
                  <a:pt x="66180" y="261891"/>
                  <a:pt x="63313" y="258675"/>
                  <a:pt x="63313" y="255057"/>
                </a:cubicBezTo>
                <a:cubicBezTo>
                  <a:pt x="63313" y="250636"/>
                  <a:pt x="66180" y="247822"/>
                  <a:pt x="70276" y="247822"/>
                </a:cubicBezTo>
                <a:close/>
                <a:moveTo>
                  <a:pt x="70276" y="200790"/>
                </a:moveTo>
                <a:lnTo>
                  <a:pt x="164476" y="200790"/>
                </a:lnTo>
                <a:cubicBezTo>
                  <a:pt x="168162" y="200790"/>
                  <a:pt x="171439" y="204310"/>
                  <a:pt x="171439" y="207830"/>
                </a:cubicBezTo>
                <a:cubicBezTo>
                  <a:pt x="171439" y="211741"/>
                  <a:pt x="168162" y="214870"/>
                  <a:pt x="164476" y="214870"/>
                </a:cubicBezTo>
                <a:lnTo>
                  <a:pt x="70276" y="214870"/>
                </a:lnTo>
                <a:cubicBezTo>
                  <a:pt x="66180" y="214870"/>
                  <a:pt x="63313" y="211741"/>
                  <a:pt x="63313" y="207830"/>
                </a:cubicBezTo>
                <a:cubicBezTo>
                  <a:pt x="63313" y="204310"/>
                  <a:pt x="66180" y="200790"/>
                  <a:pt x="70276" y="200790"/>
                </a:cubicBezTo>
                <a:close/>
                <a:moveTo>
                  <a:pt x="70222" y="153758"/>
                </a:moveTo>
                <a:lnTo>
                  <a:pt x="147846" y="153758"/>
                </a:lnTo>
                <a:cubicBezTo>
                  <a:pt x="152317" y="153758"/>
                  <a:pt x="155162" y="156572"/>
                  <a:pt x="155162" y="160591"/>
                </a:cubicBezTo>
                <a:cubicBezTo>
                  <a:pt x="155162" y="164209"/>
                  <a:pt x="152317" y="167827"/>
                  <a:pt x="147846" y="167827"/>
                </a:cubicBezTo>
                <a:lnTo>
                  <a:pt x="70222" y="167827"/>
                </a:lnTo>
                <a:cubicBezTo>
                  <a:pt x="66158" y="167827"/>
                  <a:pt x="63313" y="164209"/>
                  <a:pt x="63313" y="160591"/>
                </a:cubicBezTo>
                <a:cubicBezTo>
                  <a:pt x="63313" y="156572"/>
                  <a:pt x="66158" y="153758"/>
                  <a:pt x="70222" y="153758"/>
                </a:cubicBezTo>
                <a:close/>
                <a:moveTo>
                  <a:pt x="285369" y="145024"/>
                </a:moveTo>
                <a:lnTo>
                  <a:pt x="285369" y="195529"/>
                </a:lnTo>
                <a:cubicBezTo>
                  <a:pt x="285369" y="199635"/>
                  <a:pt x="283732" y="203331"/>
                  <a:pt x="280869" y="206616"/>
                </a:cubicBezTo>
                <a:lnTo>
                  <a:pt x="247733" y="239465"/>
                </a:lnTo>
                <a:cubicBezTo>
                  <a:pt x="256733" y="246035"/>
                  <a:pt x="267778" y="249320"/>
                  <a:pt x="278414" y="249320"/>
                </a:cubicBezTo>
                <a:cubicBezTo>
                  <a:pt x="307050" y="249320"/>
                  <a:pt x="330368" y="225915"/>
                  <a:pt x="330368" y="196761"/>
                </a:cubicBezTo>
                <a:cubicBezTo>
                  <a:pt x="330368" y="170482"/>
                  <a:pt x="311141" y="148309"/>
                  <a:pt x="285369" y="145024"/>
                </a:cubicBezTo>
                <a:close/>
                <a:moveTo>
                  <a:pt x="247873" y="132284"/>
                </a:moveTo>
                <a:cubicBezTo>
                  <a:pt x="221915" y="135552"/>
                  <a:pt x="202137" y="157609"/>
                  <a:pt x="202137" y="184159"/>
                </a:cubicBezTo>
                <a:cubicBezTo>
                  <a:pt x="202137" y="195596"/>
                  <a:pt x="206258" y="207033"/>
                  <a:pt x="214086" y="216428"/>
                </a:cubicBezTo>
                <a:lnTo>
                  <a:pt x="247461" y="183342"/>
                </a:lnTo>
                <a:cubicBezTo>
                  <a:pt x="247461" y="182934"/>
                  <a:pt x="247873" y="182934"/>
                  <a:pt x="247873" y="182525"/>
                </a:cubicBezTo>
                <a:close/>
                <a:moveTo>
                  <a:pt x="278414" y="130242"/>
                </a:moveTo>
                <a:cubicBezTo>
                  <a:pt x="315232" y="130242"/>
                  <a:pt x="345095" y="160217"/>
                  <a:pt x="345095" y="196761"/>
                </a:cubicBezTo>
                <a:cubicBezTo>
                  <a:pt x="345095" y="233716"/>
                  <a:pt x="315232" y="263691"/>
                  <a:pt x="278414" y="263691"/>
                </a:cubicBezTo>
                <a:cubicBezTo>
                  <a:pt x="262051" y="263691"/>
                  <a:pt x="246506" y="257943"/>
                  <a:pt x="234642" y="246856"/>
                </a:cubicBezTo>
                <a:cubicBezTo>
                  <a:pt x="233824" y="246856"/>
                  <a:pt x="233824" y="246445"/>
                  <a:pt x="233415" y="245624"/>
                </a:cubicBezTo>
                <a:cubicBezTo>
                  <a:pt x="233006" y="245214"/>
                  <a:pt x="232597" y="245214"/>
                  <a:pt x="232597" y="245214"/>
                </a:cubicBezTo>
                <a:cubicBezTo>
                  <a:pt x="229733" y="242339"/>
                  <a:pt x="229733" y="237822"/>
                  <a:pt x="232597" y="234948"/>
                </a:cubicBezTo>
                <a:lnTo>
                  <a:pt x="271051" y="196351"/>
                </a:lnTo>
                <a:cubicBezTo>
                  <a:pt x="271051" y="195940"/>
                  <a:pt x="271051" y="195940"/>
                  <a:pt x="271051" y="195529"/>
                </a:cubicBezTo>
                <a:lnTo>
                  <a:pt x="271051" y="137222"/>
                </a:lnTo>
                <a:cubicBezTo>
                  <a:pt x="271051" y="133116"/>
                  <a:pt x="274732" y="130242"/>
                  <a:pt x="278414" y="130242"/>
                </a:cubicBezTo>
                <a:close/>
                <a:moveTo>
                  <a:pt x="246637" y="117988"/>
                </a:moveTo>
                <a:cubicBezTo>
                  <a:pt x="250345" y="117580"/>
                  <a:pt x="254053" y="118805"/>
                  <a:pt x="257350" y="121256"/>
                </a:cubicBezTo>
                <a:cubicBezTo>
                  <a:pt x="260234" y="124115"/>
                  <a:pt x="261882" y="127791"/>
                  <a:pt x="261882" y="131467"/>
                </a:cubicBezTo>
                <a:lnTo>
                  <a:pt x="261882" y="182525"/>
                </a:lnTo>
                <a:cubicBezTo>
                  <a:pt x="261882" y="186610"/>
                  <a:pt x="260234" y="190695"/>
                  <a:pt x="257350" y="193145"/>
                </a:cubicBezTo>
                <a:lnTo>
                  <a:pt x="223975" y="227048"/>
                </a:lnTo>
                <a:cubicBezTo>
                  <a:pt x="221091" y="229498"/>
                  <a:pt x="217382" y="231132"/>
                  <a:pt x="213674" y="231132"/>
                </a:cubicBezTo>
                <a:cubicBezTo>
                  <a:pt x="213674" y="231132"/>
                  <a:pt x="213262" y="231132"/>
                  <a:pt x="212850" y="230724"/>
                </a:cubicBezTo>
                <a:cubicBezTo>
                  <a:pt x="209142" y="230724"/>
                  <a:pt x="205845" y="229090"/>
                  <a:pt x="203373" y="225822"/>
                </a:cubicBezTo>
                <a:cubicBezTo>
                  <a:pt x="193484" y="214385"/>
                  <a:pt x="188128" y="199272"/>
                  <a:pt x="188128" y="184159"/>
                </a:cubicBezTo>
                <a:cubicBezTo>
                  <a:pt x="188128" y="150257"/>
                  <a:pt x="212850" y="122481"/>
                  <a:pt x="246637" y="117988"/>
                </a:cubicBezTo>
                <a:close/>
                <a:moveTo>
                  <a:pt x="274487" y="34367"/>
                </a:moveTo>
                <a:lnTo>
                  <a:pt x="274487" y="56073"/>
                </a:lnTo>
                <a:cubicBezTo>
                  <a:pt x="274487" y="74502"/>
                  <a:pt x="289695" y="90065"/>
                  <a:pt x="308602" y="90065"/>
                </a:cubicBezTo>
                <a:lnTo>
                  <a:pt x="348882" y="90065"/>
                </a:lnTo>
                <a:close/>
                <a:moveTo>
                  <a:pt x="51714" y="26996"/>
                </a:moveTo>
                <a:cubicBezTo>
                  <a:pt x="48015" y="26996"/>
                  <a:pt x="45138" y="29862"/>
                  <a:pt x="45138" y="33958"/>
                </a:cubicBezTo>
                <a:lnTo>
                  <a:pt x="45138" y="389029"/>
                </a:lnTo>
                <a:lnTo>
                  <a:pt x="45138" y="493462"/>
                </a:lnTo>
                <a:cubicBezTo>
                  <a:pt x="45138" y="497148"/>
                  <a:pt x="48015" y="500015"/>
                  <a:pt x="51714" y="500015"/>
                </a:cubicBezTo>
                <a:lnTo>
                  <a:pt x="356691" y="500015"/>
                </a:lnTo>
                <a:cubicBezTo>
                  <a:pt x="359979" y="500015"/>
                  <a:pt x="363267" y="497148"/>
                  <a:pt x="363267" y="493462"/>
                </a:cubicBezTo>
                <a:lnTo>
                  <a:pt x="363267" y="452098"/>
                </a:lnTo>
                <a:lnTo>
                  <a:pt x="363267" y="104399"/>
                </a:lnTo>
                <a:lnTo>
                  <a:pt x="308602" y="104399"/>
                </a:lnTo>
                <a:cubicBezTo>
                  <a:pt x="281885" y="104399"/>
                  <a:pt x="260101" y="82284"/>
                  <a:pt x="260101" y="56073"/>
                </a:cubicBezTo>
                <a:lnTo>
                  <a:pt x="260101" y="26996"/>
                </a:lnTo>
                <a:close/>
                <a:moveTo>
                  <a:pt x="51714" y="12662"/>
                </a:moveTo>
                <a:lnTo>
                  <a:pt x="266267" y="12662"/>
                </a:lnTo>
                <a:lnTo>
                  <a:pt x="266267" y="13071"/>
                </a:lnTo>
                <a:cubicBezTo>
                  <a:pt x="267911" y="12662"/>
                  <a:pt x="269966" y="13071"/>
                  <a:pt x="271610" y="14300"/>
                </a:cubicBezTo>
                <a:lnTo>
                  <a:pt x="374776" y="91293"/>
                </a:lnTo>
                <a:cubicBezTo>
                  <a:pt x="376420" y="92932"/>
                  <a:pt x="377653" y="94979"/>
                  <a:pt x="377653" y="97027"/>
                </a:cubicBezTo>
                <a:lnTo>
                  <a:pt x="377653" y="452098"/>
                </a:lnTo>
                <a:lnTo>
                  <a:pt x="377653" y="493462"/>
                </a:lnTo>
                <a:lnTo>
                  <a:pt x="377653" y="524588"/>
                </a:lnTo>
                <a:cubicBezTo>
                  <a:pt x="377653" y="536464"/>
                  <a:pt x="368200" y="545884"/>
                  <a:pt x="356691" y="545884"/>
                </a:cubicBezTo>
                <a:lnTo>
                  <a:pt x="51714" y="545884"/>
                </a:lnTo>
                <a:cubicBezTo>
                  <a:pt x="40206" y="545884"/>
                  <a:pt x="30752" y="536464"/>
                  <a:pt x="30752" y="524588"/>
                </a:cubicBezTo>
                <a:lnTo>
                  <a:pt x="30752" y="493462"/>
                </a:lnTo>
                <a:lnTo>
                  <a:pt x="30752" y="389029"/>
                </a:lnTo>
                <a:lnTo>
                  <a:pt x="30752" y="33958"/>
                </a:lnTo>
                <a:cubicBezTo>
                  <a:pt x="30752" y="22081"/>
                  <a:pt x="40206" y="12662"/>
                  <a:pt x="51714" y="12662"/>
                </a:cubicBezTo>
                <a:close/>
                <a:moveTo>
                  <a:pt x="345094" y="0"/>
                </a:moveTo>
                <a:cubicBezTo>
                  <a:pt x="349205" y="0"/>
                  <a:pt x="352494" y="3289"/>
                  <a:pt x="352494" y="6989"/>
                </a:cubicBezTo>
                <a:lnTo>
                  <a:pt x="352494" y="19733"/>
                </a:lnTo>
                <a:lnTo>
                  <a:pt x="365238" y="19733"/>
                </a:lnTo>
                <a:cubicBezTo>
                  <a:pt x="368938" y="19733"/>
                  <a:pt x="372227" y="23433"/>
                  <a:pt x="372227" y="27133"/>
                </a:cubicBezTo>
                <a:cubicBezTo>
                  <a:pt x="372227" y="30833"/>
                  <a:pt x="368938" y="34122"/>
                  <a:pt x="365238" y="34122"/>
                </a:cubicBezTo>
                <a:lnTo>
                  <a:pt x="352494" y="34122"/>
                </a:lnTo>
                <a:lnTo>
                  <a:pt x="352494" y="46867"/>
                </a:lnTo>
                <a:cubicBezTo>
                  <a:pt x="352494" y="50978"/>
                  <a:pt x="349205" y="53856"/>
                  <a:pt x="345094" y="53856"/>
                </a:cubicBezTo>
                <a:cubicBezTo>
                  <a:pt x="341393" y="53856"/>
                  <a:pt x="338105" y="50978"/>
                  <a:pt x="338105" y="46867"/>
                </a:cubicBezTo>
                <a:lnTo>
                  <a:pt x="338105" y="34122"/>
                </a:lnTo>
                <a:lnTo>
                  <a:pt x="325360" y="34122"/>
                </a:lnTo>
                <a:cubicBezTo>
                  <a:pt x="321660" y="34122"/>
                  <a:pt x="318371" y="30833"/>
                  <a:pt x="318371" y="27133"/>
                </a:cubicBezTo>
                <a:cubicBezTo>
                  <a:pt x="318371" y="23433"/>
                  <a:pt x="321660" y="19733"/>
                  <a:pt x="325360" y="19733"/>
                </a:cubicBezTo>
                <a:lnTo>
                  <a:pt x="338105" y="19733"/>
                </a:lnTo>
                <a:lnTo>
                  <a:pt x="338105" y="6989"/>
                </a:lnTo>
                <a:cubicBezTo>
                  <a:pt x="338105" y="3289"/>
                  <a:pt x="341393" y="0"/>
                  <a:pt x="345094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7" name="Freeform 4">
            <a:extLst>
              <a:ext uri="{FF2B5EF4-FFF2-40B4-BE49-F238E27FC236}">
                <a16:creationId xmlns:a16="http://schemas.microsoft.com/office/drawing/2014/main" id="{D1F069E2-5DA7-4600-85A2-489EAB2FD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88" y="5905504"/>
            <a:ext cx="648236" cy="639643"/>
          </a:xfrm>
          <a:custGeom>
            <a:avLst/>
            <a:gdLst>
              <a:gd name="connsiteX0" fmla="*/ 235485 w 545883"/>
              <a:gd name="connsiteY0" fmla="*/ 393071 h 538647"/>
              <a:gd name="connsiteX1" fmla="*/ 216729 w 545883"/>
              <a:gd name="connsiteY1" fmla="*/ 412230 h 538647"/>
              <a:gd name="connsiteX2" fmla="*/ 228146 w 545883"/>
              <a:gd name="connsiteY2" fmla="*/ 412230 h 538647"/>
              <a:gd name="connsiteX3" fmla="*/ 235485 w 545883"/>
              <a:gd name="connsiteY3" fmla="*/ 404893 h 538647"/>
              <a:gd name="connsiteX4" fmla="*/ 442901 w 545883"/>
              <a:gd name="connsiteY4" fmla="*/ 392534 h 538647"/>
              <a:gd name="connsiteX5" fmla="*/ 449853 w 545883"/>
              <a:gd name="connsiteY5" fmla="*/ 399828 h 538647"/>
              <a:gd name="connsiteX6" fmla="*/ 449853 w 545883"/>
              <a:gd name="connsiteY6" fmla="*/ 428597 h 538647"/>
              <a:gd name="connsiteX7" fmla="*/ 475619 w 545883"/>
              <a:gd name="connsiteY7" fmla="*/ 428597 h 538647"/>
              <a:gd name="connsiteX8" fmla="*/ 482571 w 545883"/>
              <a:gd name="connsiteY8" fmla="*/ 435485 h 538647"/>
              <a:gd name="connsiteX9" fmla="*/ 475619 w 545883"/>
              <a:gd name="connsiteY9" fmla="*/ 442779 h 538647"/>
              <a:gd name="connsiteX10" fmla="*/ 442901 w 545883"/>
              <a:gd name="connsiteY10" fmla="*/ 442779 h 538647"/>
              <a:gd name="connsiteX11" fmla="*/ 435948 w 545883"/>
              <a:gd name="connsiteY11" fmla="*/ 435485 h 538647"/>
              <a:gd name="connsiteX12" fmla="*/ 435948 w 545883"/>
              <a:gd name="connsiteY12" fmla="*/ 399828 h 538647"/>
              <a:gd name="connsiteX13" fmla="*/ 442901 w 545883"/>
              <a:gd name="connsiteY13" fmla="*/ 392534 h 538647"/>
              <a:gd name="connsiteX14" fmla="*/ 444089 w 545883"/>
              <a:gd name="connsiteY14" fmla="*/ 385180 h 538647"/>
              <a:gd name="connsiteX15" fmla="*/ 392416 w 545883"/>
              <a:gd name="connsiteY15" fmla="*/ 436443 h 538647"/>
              <a:gd name="connsiteX16" fmla="*/ 444089 w 545883"/>
              <a:gd name="connsiteY16" fmla="*/ 488115 h 538647"/>
              <a:gd name="connsiteX17" fmla="*/ 495351 w 545883"/>
              <a:gd name="connsiteY17" fmla="*/ 436443 h 538647"/>
              <a:gd name="connsiteX18" fmla="*/ 444089 w 545883"/>
              <a:gd name="connsiteY18" fmla="*/ 385180 h 538647"/>
              <a:gd name="connsiteX19" fmla="*/ 444089 w 545883"/>
              <a:gd name="connsiteY19" fmla="*/ 370827 h 538647"/>
              <a:gd name="connsiteX20" fmla="*/ 509704 w 545883"/>
              <a:gd name="connsiteY20" fmla="*/ 436443 h 538647"/>
              <a:gd name="connsiteX21" fmla="*/ 444089 w 545883"/>
              <a:gd name="connsiteY21" fmla="*/ 502468 h 538647"/>
              <a:gd name="connsiteX22" fmla="*/ 378063 w 545883"/>
              <a:gd name="connsiteY22" fmla="*/ 436443 h 538647"/>
              <a:gd name="connsiteX23" fmla="*/ 444089 w 545883"/>
              <a:gd name="connsiteY23" fmla="*/ 370827 h 538647"/>
              <a:gd name="connsiteX24" fmla="*/ 231000 w 545883"/>
              <a:gd name="connsiteY24" fmla="*/ 359236 h 538647"/>
              <a:gd name="connsiteX25" fmla="*/ 228961 w 545883"/>
              <a:gd name="connsiteY25" fmla="*/ 360459 h 538647"/>
              <a:gd name="connsiteX26" fmla="*/ 204904 w 545883"/>
              <a:gd name="connsiteY26" fmla="*/ 384918 h 538647"/>
              <a:gd name="connsiteX27" fmla="*/ 196749 w 545883"/>
              <a:gd name="connsiteY27" fmla="*/ 388179 h 538647"/>
              <a:gd name="connsiteX28" fmla="*/ 188594 w 545883"/>
              <a:gd name="connsiteY28" fmla="*/ 384918 h 538647"/>
              <a:gd name="connsiteX29" fmla="*/ 182886 w 545883"/>
              <a:gd name="connsiteY29" fmla="*/ 379210 h 538647"/>
              <a:gd name="connsiteX30" fmla="*/ 180439 w 545883"/>
              <a:gd name="connsiteY30" fmla="*/ 377988 h 538647"/>
              <a:gd name="connsiteX31" fmla="*/ 179216 w 545883"/>
              <a:gd name="connsiteY31" fmla="*/ 377580 h 538647"/>
              <a:gd name="connsiteX32" fmla="*/ 177993 w 545883"/>
              <a:gd name="connsiteY32" fmla="*/ 377580 h 538647"/>
              <a:gd name="connsiteX33" fmla="*/ 175954 w 545883"/>
              <a:gd name="connsiteY33" fmla="*/ 377580 h 538647"/>
              <a:gd name="connsiteX34" fmla="*/ 175546 w 545883"/>
              <a:gd name="connsiteY34" fmla="*/ 377580 h 538647"/>
              <a:gd name="connsiteX35" fmla="*/ 173916 w 545883"/>
              <a:gd name="connsiteY35" fmla="*/ 378803 h 538647"/>
              <a:gd name="connsiteX36" fmla="*/ 173508 w 545883"/>
              <a:gd name="connsiteY36" fmla="*/ 379210 h 538647"/>
              <a:gd name="connsiteX37" fmla="*/ 173100 w 545883"/>
              <a:gd name="connsiteY37" fmla="*/ 379618 h 538647"/>
              <a:gd name="connsiteX38" fmla="*/ 173508 w 545883"/>
              <a:gd name="connsiteY38" fmla="*/ 388994 h 538647"/>
              <a:gd name="connsiteX39" fmla="*/ 189002 w 545883"/>
              <a:gd name="connsiteY39" fmla="*/ 404485 h 538647"/>
              <a:gd name="connsiteX40" fmla="*/ 201234 w 545883"/>
              <a:gd name="connsiteY40" fmla="*/ 406523 h 538647"/>
              <a:gd name="connsiteX41" fmla="*/ 204496 w 545883"/>
              <a:gd name="connsiteY41" fmla="*/ 404485 h 538647"/>
              <a:gd name="connsiteX42" fmla="*/ 230592 w 545883"/>
              <a:gd name="connsiteY42" fmla="*/ 377580 h 538647"/>
              <a:gd name="connsiteX43" fmla="*/ 238339 w 545883"/>
              <a:gd name="connsiteY43" fmla="*/ 370242 h 538647"/>
              <a:gd name="connsiteX44" fmla="*/ 240378 w 545883"/>
              <a:gd name="connsiteY44" fmla="*/ 365351 h 538647"/>
              <a:gd name="connsiteX45" fmla="*/ 238339 w 545883"/>
              <a:gd name="connsiteY45" fmla="*/ 360459 h 538647"/>
              <a:gd name="connsiteX46" fmla="*/ 236301 w 545883"/>
              <a:gd name="connsiteY46" fmla="*/ 359236 h 538647"/>
              <a:gd name="connsiteX47" fmla="*/ 235485 w 545883"/>
              <a:gd name="connsiteY47" fmla="*/ 359236 h 538647"/>
              <a:gd name="connsiteX48" fmla="*/ 233854 w 545883"/>
              <a:gd name="connsiteY48" fmla="*/ 359236 h 538647"/>
              <a:gd name="connsiteX49" fmla="*/ 233446 w 545883"/>
              <a:gd name="connsiteY49" fmla="*/ 359236 h 538647"/>
              <a:gd name="connsiteX50" fmla="*/ 231408 w 545883"/>
              <a:gd name="connsiteY50" fmla="*/ 359236 h 538647"/>
              <a:gd name="connsiteX51" fmla="*/ 231000 w 545883"/>
              <a:gd name="connsiteY51" fmla="*/ 359236 h 538647"/>
              <a:gd name="connsiteX52" fmla="*/ 182886 w 545883"/>
              <a:gd name="connsiteY52" fmla="*/ 354344 h 538647"/>
              <a:gd name="connsiteX53" fmla="*/ 175954 w 545883"/>
              <a:gd name="connsiteY53" fmla="*/ 361274 h 538647"/>
              <a:gd name="connsiteX54" fmla="*/ 175954 w 545883"/>
              <a:gd name="connsiteY54" fmla="*/ 363312 h 538647"/>
              <a:gd name="connsiteX55" fmla="*/ 176770 w 545883"/>
              <a:gd name="connsiteY55" fmla="*/ 363312 h 538647"/>
              <a:gd name="connsiteX56" fmla="*/ 180032 w 545883"/>
              <a:gd name="connsiteY56" fmla="*/ 363312 h 538647"/>
              <a:gd name="connsiteX57" fmla="*/ 180847 w 545883"/>
              <a:gd name="connsiteY57" fmla="*/ 363312 h 538647"/>
              <a:gd name="connsiteX58" fmla="*/ 184109 w 545883"/>
              <a:gd name="connsiteY58" fmla="*/ 364128 h 538647"/>
              <a:gd name="connsiteX59" fmla="*/ 184925 w 545883"/>
              <a:gd name="connsiteY59" fmla="*/ 364535 h 538647"/>
              <a:gd name="connsiteX60" fmla="*/ 188187 w 545883"/>
              <a:gd name="connsiteY60" fmla="*/ 366166 h 538647"/>
              <a:gd name="connsiteX61" fmla="*/ 189410 w 545883"/>
              <a:gd name="connsiteY61" fmla="*/ 366166 h 538647"/>
              <a:gd name="connsiteX62" fmla="*/ 192672 w 545883"/>
              <a:gd name="connsiteY62" fmla="*/ 369427 h 538647"/>
              <a:gd name="connsiteX63" fmla="*/ 196749 w 545883"/>
              <a:gd name="connsiteY63" fmla="*/ 373096 h 538647"/>
              <a:gd name="connsiteX64" fmla="*/ 215098 w 545883"/>
              <a:gd name="connsiteY64" fmla="*/ 354344 h 538647"/>
              <a:gd name="connsiteX65" fmla="*/ 64752 w 545883"/>
              <a:gd name="connsiteY65" fmla="*/ 354344 h 538647"/>
              <a:gd name="connsiteX66" fmla="*/ 57776 w 545883"/>
              <a:gd name="connsiteY66" fmla="*/ 361274 h 538647"/>
              <a:gd name="connsiteX67" fmla="*/ 57776 w 545883"/>
              <a:gd name="connsiteY67" fmla="*/ 404893 h 538647"/>
              <a:gd name="connsiteX68" fmla="*/ 64752 w 545883"/>
              <a:gd name="connsiteY68" fmla="*/ 412230 h 538647"/>
              <a:gd name="connsiteX69" fmla="*/ 110301 w 545883"/>
              <a:gd name="connsiteY69" fmla="*/ 412230 h 538647"/>
              <a:gd name="connsiteX70" fmla="*/ 117277 w 545883"/>
              <a:gd name="connsiteY70" fmla="*/ 404893 h 538647"/>
              <a:gd name="connsiteX71" fmla="*/ 117277 w 545883"/>
              <a:gd name="connsiteY71" fmla="*/ 361274 h 538647"/>
              <a:gd name="connsiteX72" fmla="*/ 110301 w 545883"/>
              <a:gd name="connsiteY72" fmla="*/ 354344 h 538647"/>
              <a:gd name="connsiteX73" fmla="*/ 301779 w 545883"/>
              <a:gd name="connsiteY73" fmla="*/ 340077 h 538647"/>
              <a:gd name="connsiteX74" fmla="*/ 347457 w 545883"/>
              <a:gd name="connsiteY74" fmla="*/ 340077 h 538647"/>
              <a:gd name="connsiteX75" fmla="*/ 364328 w 545883"/>
              <a:gd name="connsiteY75" fmla="*/ 348637 h 538647"/>
              <a:gd name="connsiteX76" fmla="*/ 362682 w 545883"/>
              <a:gd name="connsiteY76" fmla="*/ 358013 h 538647"/>
              <a:gd name="connsiteX77" fmla="*/ 352806 w 545883"/>
              <a:gd name="connsiteY77" fmla="*/ 356790 h 538647"/>
              <a:gd name="connsiteX78" fmla="*/ 347457 w 545883"/>
              <a:gd name="connsiteY78" fmla="*/ 354344 h 538647"/>
              <a:gd name="connsiteX79" fmla="*/ 301779 w 545883"/>
              <a:gd name="connsiteY79" fmla="*/ 354344 h 538647"/>
              <a:gd name="connsiteX80" fmla="*/ 294372 w 545883"/>
              <a:gd name="connsiteY80" fmla="*/ 361274 h 538647"/>
              <a:gd name="connsiteX81" fmla="*/ 294372 w 545883"/>
              <a:gd name="connsiteY81" fmla="*/ 404893 h 538647"/>
              <a:gd name="connsiteX82" fmla="*/ 301779 w 545883"/>
              <a:gd name="connsiteY82" fmla="*/ 412230 h 538647"/>
              <a:gd name="connsiteX83" fmla="*/ 326058 w 545883"/>
              <a:gd name="connsiteY83" fmla="*/ 412230 h 538647"/>
              <a:gd name="connsiteX84" fmla="*/ 333054 w 545883"/>
              <a:gd name="connsiteY84" fmla="*/ 419160 h 538647"/>
              <a:gd name="connsiteX85" fmla="*/ 326058 w 545883"/>
              <a:gd name="connsiteY85" fmla="*/ 426498 h 538647"/>
              <a:gd name="connsiteX86" fmla="*/ 301779 w 545883"/>
              <a:gd name="connsiteY86" fmla="*/ 426498 h 538647"/>
              <a:gd name="connsiteX87" fmla="*/ 280381 w 545883"/>
              <a:gd name="connsiteY87" fmla="*/ 404893 h 538647"/>
              <a:gd name="connsiteX88" fmla="*/ 280381 w 545883"/>
              <a:gd name="connsiteY88" fmla="*/ 361274 h 538647"/>
              <a:gd name="connsiteX89" fmla="*/ 301779 w 545883"/>
              <a:gd name="connsiteY89" fmla="*/ 340077 h 538647"/>
              <a:gd name="connsiteX90" fmla="*/ 182886 w 545883"/>
              <a:gd name="connsiteY90" fmla="*/ 340077 h 538647"/>
              <a:gd name="connsiteX91" fmla="*/ 228146 w 545883"/>
              <a:gd name="connsiteY91" fmla="*/ 340077 h 538647"/>
              <a:gd name="connsiteX92" fmla="*/ 244863 w 545883"/>
              <a:gd name="connsiteY92" fmla="*/ 347822 h 538647"/>
              <a:gd name="connsiteX93" fmla="*/ 248533 w 545883"/>
              <a:gd name="connsiteY93" fmla="*/ 350675 h 538647"/>
              <a:gd name="connsiteX94" fmla="*/ 254649 w 545883"/>
              <a:gd name="connsiteY94" fmla="*/ 365351 h 538647"/>
              <a:gd name="connsiteX95" fmla="*/ 249756 w 545883"/>
              <a:gd name="connsiteY95" fmla="*/ 378803 h 538647"/>
              <a:gd name="connsiteX96" fmla="*/ 249756 w 545883"/>
              <a:gd name="connsiteY96" fmla="*/ 404893 h 538647"/>
              <a:gd name="connsiteX97" fmla="*/ 228146 w 545883"/>
              <a:gd name="connsiteY97" fmla="*/ 426498 h 538647"/>
              <a:gd name="connsiteX98" fmla="*/ 182886 w 545883"/>
              <a:gd name="connsiteY98" fmla="*/ 426498 h 538647"/>
              <a:gd name="connsiteX99" fmla="*/ 161683 w 545883"/>
              <a:gd name="connsiteY99" fmla="*/ 404893 h 538647"/>
              <a:gd name="connsiteX100" fmla="*/ 161683 w 545883"/>
              <a:gd name="connsiteY100" fmla="*/ 397147 h 538647"/>
              <a:gd name="connsiteX101" fmla="*/ 161683 w 545883"/>
              <a:gd name="connsiteY101" fmla="*/ 371058 h 538647"/>
              <a:gd name="connsiteX102" fmla="*/ 161683 w 545883"/>
              <a:gd name="connsiteY102" fmla="*/ 361274 h 538647"/>
              <a:gd name="connsiteX103" fmla="*/ 182886 w 545883"/>
              <a:gd name="connsiteY103" fmla="*/ 340077 h 538647"/>
              <a:gd name="connsiteX104" fmla="*/ 64752 w 545883"/>
              <a:gd name="connsiteY104" fmla="*/ 340077 h 538647"/>
              <a:gd name="connsiteX105" fmla="*/ 110301 w 545883"/>
              <a:gd name="connsiteY105" fmla="*/ 340077 h 538647"/>
              <a:gd name="connsiteX106" fmla="*/ 131640 w 545883"/>
              <a:gd name="connsiteY106" fmla="*/ 361274 h 538647"/>
              <a:gd name="connsiteX107" fmla="*/ 131640 w 545883"/>
              <a:gd name="connsiteY107" fmla="*/ 404893 h 538647"/>
              <a:gd name="connsiteX108" fmla="*/ 110301 w 545883"/>
              <a:gd name="connsiteY108" fmla="*/ 426498 h 538647"/>
              <a:gd name="connsiteX109" fmla="*/ 64752 w 545883"/>
              <a:gd name="connsiteY109" fmla="*/ 426498 h 538647"/>
              <a:gd name="connsiteX110" fmla="*/ 43414 w 545883"/>
              <a:gd name="connsiteY110" fmla="*/ 404893 h 538647"/>
              <a:gd name="connsiteX111" fmla="*/ 43414 w 545883"/>
              <a:gd name="connsiteY111" fmla="*/ 361274 h 538647"/>
              <a:gd name="connsiteX112" fmla="*/ 64752 w 545883"/>
              <a:gd name="connsiteY112" fmla="*/ 340077 h 538647"/>
              <a:gd name="connsiteX113" fmla="*/ 443540 w 545883"/>
              <a:gd name="connsiteY113" fmla="*/ 332841 h 538647"/>
              <a:gd name="connsiteX114" fmla="*/ 545883 w 545883"/>
              <a:gd name="connsiteY114" fmla="*/ 435539 h 538647"/>
              <a:gd name="connsiteX115" fmla="*/ 443540 w 545883"/>
              <a:gd name="connsiteY115" fmla="*/ 538647 h 538647"/>
              <a:gd name="connsiteX116" fmla="*/ 341198 w 545883"/>
              <a:gd name="connsiteY116" fmla="*/ 442933 h 538647"/>
              <a:gd name="connsiteX117" fmla="*/ 347748 w 545883"/>
              <a:gd name="connsiteY117" fmla="*/ 435128 h 538647"/>
              <a:gd name="connsiteX118" fmla="*/ 355526 w 545883"/>
              <a:gd name="connsiteY118" fmla="*/ 442112 h 538647"/>
              <a:gd name="connsiteX119" fmla="*/ 443540 w 545883"/>
              <a:gd name="connsiteY119" fmla="*/ 524270 h 538647"/>
              <a:gd name="connsiteX120" fmla="*/ 531145 w 545883"/>
              <a:gd name="connsiteY120" fmla="*/ 435539 h 538647"/>
              <a:gd name="connsiteX121" fmla="*/ 443540 w 545883"/>
              <a:gd name="connsiteY121" fmla="*/ 347218 h 538647"/>
              <a:gd name="connsiteX122" fmla="*/ 366988 w 545883"/>
              <a:gd name="connsiteY122" fmla="*/ 390762 h 538647"/>
              <a:gd name="connsiteX123" fmla="*/ 373947 w 545883"/>
              <a:gd name="connsiteY123" fmla="*/ 386654 h 538647"/>
              <a:gd name="connsiteX124" fmla="*/ 383363 w 545883"/>
              <a:gd name="connsiteY124" fmla="*/ 388708 h 538647"/>
              <a:gd name="connsiteX125" fmla="*/ 381316 w 545883"/>
              <a:gd name="connsiteY125" fmla="*/ 398568 h 538647"/>
              <a:gd name="connsiteX126" fmla="*/ 355116 w 545883"/>
              <a:gd name="connsiteY126" fmla="*/ 414999 h 538647"/>
              <a:gd name="connsiteX127" fmla="*/ 351432 w 545883"/>
              <a:gd name="connsiteY127" fmla="*/ 416232 h 538647"/>
              <a:gd name="connsiteX128" fmla="*/ 348976 w 545883"/>
              <a:gd name="connsiteY128" fmla="*/ 415821 h 538647"/>
              <a:gd name="connsiteX129" fmla="*/ 344882 w 545883"/>
              <a:gd name="connsiteY129" fmla="*/ 411302 h 538647"/>
              <a:gd name="connsiteX130" fmla="*/ 335467 w 545883"/>
              <a:gd name="connsiteY130" fmla="*/ 382546 h 538647"/>
              <a:gd name="connsiteX131" fmla="*/ 340379 w 545883"/>
              <a:gd name="connsiteY131" fmla="*/ 373509 h 538647"/>
              <a:gd name="connsiteX132" fmla="*/ 349385 w 545883"/>
              <a:gd name="connsiteY132" fmla="*/ 378028 h 538647"/>
              <a:gd name="connsiteX133" fmla="*/ 352251 w 545883"/>
              <a:gd name="connsiteY133" fmla="*/ 388298 h 538647"/>
              <a:gd name="connsiteX134" fmla="*/ 443540 w 545883"/>
              <a:gd name="connsiteY134" fmla="*/ 332841 h 538647"/>
              <a:gd name="connsiteX135" fmla="*/ 117905 w 545883"/>
              <a:gd name="connsiteY135" fmla="*/ 289960 h 538647"/>
              <a:gd name="connsiteX136" fmla="*/ 99148 w 545883"/>
              <a:gd name="connsiteY136" fmla="*/ 309120 h 538647"/>
              <a:gd name="connsiteX137" fmla="*/ 110973 w 545883"/>
              <a:gd name="connsiteY137" fmla="*/ 309120 h 538647"/>
              <a:gd name="connsiteX138" fmla="*/ 117905 w 545883"/>
              <a:gd name="connsiteY138" fmla="*/ 302190 h 538647"/>
              <a:gd name="connsiteX139" fmla="*/ 115458 w 545883"/>
              <a:gd name="connsiteY139" fmla="*/ 255718 h 538647"/>
              <a:gd name="connsiteX140" fmla="*/ 114235 w 545883"/>
              <a:gd name="connsiteY140" fmla="*/ 256126 h 538647"/>
              <a:gd name="connsiteX141" fmla="*/ 113420 w 545883"/>
              <a:gd name="connsiteY141" fmla="*/ 256126 h 538647"/>
              <a:gd name="connsiteX142" fmla="*/ 111381 w 545883"/>
              <a:gd name="connsiteY142" fmla="*/ 257349 h 538647"/>
              <a:gd name="connsiteX143" fmla="*/ 110973 w 545883"/>
              <a:gd name="connsiteY143" fmla="*/ 257757 h 538647"/>
              <a:gd name="connsiteX144" fmla="*/ 87324 w 545883"/>
              <a:gd name="connsiteY144" fmla="*/ 281808 h 538647"/>
              <a:gd name="connsiteX145" fmla="*/ 71014 w 545883"/>
              <a:gd name="connsiteY145" fmla="*/ 281808 h 538647"/>
              <a:gd name="connsiteX146" fmla="*/ 65305 w 545883"/>
              <a:gd name="connsiteY146" fmla="*/ 276508 h 538647"/>
              <a:gd name="connsiteX147" fmla="*/ 63266 w 545883"/>
              <a:gd name="connsiteY147" fmla="*/ 274878 h 538647"/>
              <a:gd name="connsiteX148" fmla="*/ 61228 w 545883"/>
              <a:gd name="connsiteY148" fmla="*/ 274470 h 538647"/>
              <a:gd name="connsiteX149" fmla="*/ 60820 w 545883"/>
              <a:gd name="connsiteY149" fmla="*/ 274470 h 538647"/>
              <a:gd name="connsiteX150" fmla="*/ 58373 w 545883"/>
              <a:gd name="connsiteY150" fmla="*/ 274878 h 538647"/>
              <a:gd name="connsiteX151" fmla="*/ 56335 w 545883"/>
              <a:gd name="connsiteY151" fmla="*/ 276100 h 538647"/>
              <a:gd name="connsiteX152" fmla="*/ 55927 w 545883"/>
              <a:gd name="connsiteY152" fmla="*/ 276100 h 538647"/>
              <a:gd name="connsiteX153" fmla="*/ 55519 w 545883"/>
              <a:gd name="connsiteY153" fmla="*/ 276508 h 538647"/>
              <a:gd name="connsiteX154" fmla="*/ 55519 w 545883"/>
              <a:gd name="connsiteY154" fmla="*/ 285884 h 538647"/>
              <a:gd name="connsiteX155" fmla="*/ 58373 w 545883"/>
              <a:gd name="connsiteY155" fmla="*/ 288737 h 538647"/>
              <a:gd name="connsiteX156" fmla="*/ 71421 w 545883"/>
              <a:gd name="connsiteY156" fmla="*/ 301374 h 538647"/>
              <a:gd name="connsiteX157" fmla="*/ 75499 w 545883"/>
              <a:gd name="connsiteY157" fmla="*/ 303820 h 538647"/>
              <a:gd name="connsiteX158" fmla="*/ 86508 w 545883"/>
              <a:gd name="connsiteY158" fmla="*/ 301374 h 538647"/>
              <a:gd name="connsiteX159" fmla="*/ 104449 w 545883"/>
              <a:gd name="connsiteY159" fmla="*/ 283438 h 538647"/>
              <a:gd name="connsiteX160" fmla="*/ 120759 w 545883"/>
              <a:gd name="connsiteY160" fmla="*/ 267132 h 538647"/>
              <a:gd name="connsiteX161" fmla="*/ 122798 w 545883"/>
              <a:gd name="connsiteY161" fmla="*/ 262241 h 538647"/>
              <a:gd name="connsiteX162" fmla="*/ 120759 w 545883"/>
              <a:gd name="connsiteY162" fmla="*/ 257757 h 538647"/>
              <a:gd name="connsiteX163" fmla="*/ 119128 w 545883"/>
              <a:gd name="connsiteY163" fmla="*/ 256534 h 538647"/>
              <a:gd name="connsiteX164" fmla="*/ 117905 w 545883"/>
              <a:gd name="connsiteY164" fmla="*/ 256126 h 538647"/>
              <a:gd name="connsiteX165" fmla="*/ 116682 w 545883"/>
              <a:gd name="connsiteY165" fmla="*/ 256126 h 538647"/>
              <a:gd name="connsiteX166" fmla="*/ 115458 w 545883"/>
              <a:gd name="connsiteY166" fmla="*/ 255718 h 538647"/>
              <a:gd name="connsiteX167" fmla="*/ 301819 w 545883"/>
              <a:gd name="connsiteY167" fmla="*/ 251642 h 538647"/>
              <a:gd name="connsiteX168" fmla="*/ 294398 w 545883"/>
              <a:gd name="connsiteY168" fmla="*/ 258572 h 538647"/>
              <a:gd name="connsiteX169" fmla="*/ 294398 w 545883"/>
              <a:gd name="connsiteY169" fmla="*/ 302190 h 538647"/>
              <a:gd name="connsiteX170" fmla="*/ 301819 w 545883"/>
              <a:gd name="connsiteY170" fmla="*/ 309120 h 538647"/>
              <a:gd name="connsiteX171" fmla="*/ 347581 w 545883"/>
              <a:gd name="connsiteY171" fmla="*/ 309120 h 538647"/>
              <a:gd name="connsiteX172" fmla="*/ 354589 w 545883"/>
              <a:gd name="connsiteY172" fmla="*/ 302190 h 538647"/>
              <a:gd name="connsiteX173" fmla="*/ 354589 w 545883"/>
              <a:gd name="connsiteY173" fmla="*/ 258572 h 538647"/>
              <a:gd name="connsiteX174" fmla="*/ 347581 w 545883"/>
              <a:gd name="connsiteY174" fmla="*/ 251642 h 538647"/>
              <a:gd name="connsiteX175" fmla="*/ 184043 w 545883"/>
              <a:gd name="connsiteY175" fmla="*/ 251642 h 538647"/>
              <a:gd name="connsiteX176" fmla="*/ 177099 w 545883"/>
              <a:gd name="connsiteY176" fmla="*/ 258572 h 538647"/>
              <a:gd name="connsiteX177" fmla="*/ 177099 w 545883"/>
              <a:gd name="connsiteY177" fmla="*/ 302190 h 538647"/>
              <a:gd name="connsiteX178" fmla="*/ 184043 w 545883"/>
              <a:gd name="connsiteY178" fmla="*/ 309120 h 538647"/>
              <a:gd name="connsiteX179" fmla="*/ 229382 w 545883"/>
              <a:gd name="connsiteY179" fmla="*/ 309120 h 538647"/>
              <a:gd name="connsiteX180" fmla="*/ 236734 w 545883"/>
              <a:gd name="connsiteY180" fmla="*/ 302190 h 538647"/>
              <a:gd name="connsiteX181" fmla="*/ 236734 w 545883"/>
              <a:gd name="connsiteY181" fmla="*/ 258572 h 538647"/>
              <a:gd name="connsiteX182" fmla="*/ 229382 w 545883"/>
              <a:gd name="connsiteY182" fmla="*/ 251642 h 538647"/>
              <a:gd name="connsiteX183" fmla="*/ 65713 w 545883"/>
              <a:gd name="connsiteY183" fmla="*/ 251642 h 538647"/>
              <a:gd name="connsiteX184" fmla="*/ 58781 w 545883"/>
              <a:gd name="connsiteY184" fmla="*/ 258572 h 538647"/>
              <a:gd name="connsiteX185" fmla="*/ 58781 w 545883"/>
              <a:gd name="connsiteY185" fmla="*/ 260202 h 538647"/>
              <a:gd name="connsiteX186" fmla="*/ 62451 w 545883"/>
              <a:gd name="connsiteY186" fmla="*/ 260202 h 538647"/>
              <a:gd name="connsiteX187" fmla="*/ 63266 w 545883"/>
              <a:gd name="connsiteY187" fmla="*/ 260610 h 538647"/>
              <a:gd name="connsiteX188" fmla="*/ 66528 w 545883"/>
              <a:gd name="connsiteY188" fmla="*/ 261018 h 538647"/>
              <a:gd name="connsiteX189" fmla="*/ 67752 w 545883"/>
              <a:gd name="connsiteY189" fmla="*/ 261425 h 538647"/>
              <a:gd name="connsiteX190" fmla="*/ 70606 w 545883"/>
              <a:gd name="connsiteY190" fmla="*/ 263056 h 538647"/>
              <a:gd name="connsiteX191" fmla="*/ 71421 w 545883"/>
              <a:gd name="connsiteY191" fmla="*/ 263464 h 538647"/>
              <a:gd name="connsiteX192" fmla="*/ 75091 w 545883"/>
              <a:gd name="connsiteY192" fmla="*/ 266317 h 538647"/>
              <a:gd name="connsiteX193" fmla="*/ 79169 w 545883"/>
              <a:gd name="connsiteY193" fmla="*/ 270393 h 538647"/>
              <a:gd name="connsiteX194" fmla="*/ 97517 w 545883"/>
              <a:gd name="connsiteY194" fmla="*/ 251642 h 538647"/>
              <a:gd name="connsiteX195" fmla="*/ 301819 w 545883"/>
              <a:gd name="connsiteY195" fmla="*/ 236967 h 538647"/>
              <a:gd name="connsiteX196" fmla="*/ 347581 w 545883"/>
              <a:gd name="connsiteY196" fmla="*/ 236967 h 538647"/>
              <a:gd name="connsiteX197" fmla="*/ 368607 w 545883"/>
              <a:gd name="connsiteY197" fmla="*/ 258572 h 538647"/>
              <a:gd name="connsiteX198" fmla="*/ 368607 w 545883"/>
              <a:gd name="connsiteY198" fmla="*/ 302190 h 538647"/>
              <a:gd name="connsiteX199" fmla="*/ 347581 w 545883"/>
              <a:gd name="connsiteY199" fmla="*/ 323387 h 538647"/>
              <a:gd name="connsiteX200" fmla="*/ 301819 w 545883"/>
              <a:gd name="connsiteY200" fmla="*/ 323387 h 538647"/>
              <a:gd name="connsiteX201" fmla="*/ 280381 w 545883"/>
              <a:gd name="connsiteY201" fmla="*/ 302190 h 538647"/>
              <a:gd name="connsiteX202" fmla="*/ 280381 w 545883"/>
              <a:gd name="connsiteY202" fmla="*/ 258572 h 538647"/>
              <a:gd name="connsiteX203" fmla="*/ 301819 w 545883"/>
              <a:gd name="connsiteY203" fmla="*/ 236967 h 538647"/>
              <a:gd name="connsiteX204" fmla="*/ 184043 w 545883"/>
              <a:gd name="connsiteY204" fmla="*/ 236967 h 538647"/>
              <a:gd name="connsiteX205" fmla="*/ 229382 w 545883"/>
              <a:gd name="connsiteY205" fmla="*/ 236967 h 538647"/>
              <a:gd name="connsiteX206" fmla="*/ 251030 w 545883"/>
              <a:gd name="connsiteY206" fmla="*/ 258572 h 538647"/>
              <a:gd name="connsiteX207" fmla="*/ 251030 w 545883"/>
              <a:gd name="connsiteY207" fmla="*/ 302190 h 538647"/>
              <a:gd name="connsiteX208" fmla="*/ 229382 w 545883"/>
              <a:gd name="connsiteY208" fmla="*/ 323387 h 538647"/>
              <a:gd name="connsiteX209" fmla="*/ 184043 w 545883"/>
              <a:gd name="connsiteY209" fmla="*/ 323387 h 538647"/>
              <a:gd name="connsiteX210" fmla="*/ 162803 w 545883"/>
              <a:gd name="connsiteY210" fmla="*/ 302190 h 538647"/>
              <a:gd name="connsiteX211" fmla="*/ 162803 w 545883"/>
              <a:gd name="connsiteY211" fmla="*/ 258572 h 538647"/>
              <a:gd name="connsiteX212" fmla="*/ 184043 w 545883"/>
              <a:gd name="connsiteY212" fmla="*/ 236967 h 538647"/>
              <a:gd name="connsiteX213" fmla="*/ 65713 w 545883"/>
              <a:gd name="connsiteY213" fmla="*/ 236967 h 538647"/>
              <a:gd name="connsiteX214" fmla="*/ 110973 w 545883"/>
              <a:gd name="connsiteY214" fmla="*/ 236967 h 538647"/>
              <a:gd name="connsiteX215" fmla="*/ 127283 w 545883"/>
              <a:gd name="connsiteY215" fmla="*/ 244712 h 538647"/>
              <a:gd name="connsiteX216" fmla="*/ 130953 w 545883"/>
              <a:gd name="connsiteY216" fmla="*/ 247565 h 538647"/>
              <a:gd name="connsiteX217" fmla="*/ 137069 w 545883"/>
              <a:gd name="connsiteY217" fmla="*/ 262241 h 538647"/>
              <a:gd name="connsiteX218" fmla="*/ 132176 w 545883"/>
              <a:gd name="connsiteY218" fmla="*/ 275693 h 538647"/>
              <a:gd name="connsiteX219" fmla="*/ 132176 w 545883"/>
              <a:gd name="connsiteY219" fmla="*/ 302190 h 538647"/>
              <a:gd name="connsiteX220" fmla="*/ 110973 w 545883"/>
              <a:gd name="connsiteY220" fmla="*/ 323387 h 538647"/>
              <a:gd name="connsiteX221" fmla="*/ 65713 w 545883"/>
              <a:gd name="connsiteY221" fmla="*/ 323387 h 538647"/>
              <a:gd name="connsiteX222" fmla="*/ 44510 w 545883"/>
              <a:gd name="connsiteY222" fmla="*/ 302190 h 538647"/>
              <a:gd name="connsiteX223" fmla="*/ 44510 w 545883"/>
              <a:gd name="connsiteY223" fmla="*/ 294444 h 538647"/>
              <a:gd name="connsiteX224" fmla="*/ 44510 w 545883"/>
              <a:gd name="connsiteY224" fmla="*/ 267948 h 538647"/>
              <a:gd name="connsiteX225" fmla="*/ 44510 w 545883"/>
              <a:gd name="connsiteY225" fmla="*/ 258572 h 538647"/>
              <a:gd name="connsiteX226" fmla="*/ 65713 w 545883"/>
              <a:gd name="connsiteY226" fmla="*/ 236967 h 538647"/>
              <a:gd name="connsiteX227" fmla="*/ 301819 w 545883"/>
              <a:gd name="connsiteY227" fmla="*/ 147785 h 538647"/>
              <a:gd name="connsiteX228" fmla="*/ 294398 w 545883"/>
              <a:gd name="connsiteY228" fmla="*/ 155157 h 538647"/>
              <a:gd name="connsiteX229" fmla="*/ 294398 w 545883"/>
              <a:gd name="connsiteY229" fmla="*/ 198981 h 538647"/>
              <a:gd name="connsiteX230" fmla="*/ 301819 w 545883"/>
              <a:gd name="connsiteY230" fmla="*/ 205943 h 538647"/>
              <a:gd name="connsiteX231" fmla="*/ 347581 w 545883"/>
              <a:gd name="connsiteY231" fmla="*/ 205943 h 538647"/>
              <a:gd name="connsiteX232" fmla="*/ 354589 w 545883"/>
              <a:gd name="connsiteY232" fmla="*/ 198981 h 538647"/>
              <a:gd name="connsiteX233" fmla="*/ 354589 w 545883"/>
              <a:gd name="connsiteY233" fmla="*/ 155157 h 538647"/>
              <a:gd name="connsiteX234" fmla="*/ 347581 w 545883"/>
              <a:gd name="connsiteY234" fmla="*/ 147785 h 538647"/>
              <a:gd name="connsiteX235" fmla="*/ 184043 w 545883"/>
              <a:gd name="connsiteY235" fmla="*/ 147785 h 538647"/>
              <a:gd name="connsiteX236" fmla="*/ 177099 w 545883"/>
              <a:gd name="connsiteY236" fmla="*/ 155157 h 538647"/>
              <a:gd name="connsiteX237" fmla="*/ 177099 w 545883"/>
              <a:gd name="connsiteY237" fmla="*/ 198981 h 538647"/>
              <a:gd name="connsiteX238" fmla="*/ 184043 w 545883"/>
              <a:gd name="connsiteY238" fmla="*/ 205943 h 538647"/>
              <a:gd name="connsiteX239" fmla="*/ 229382 w 545883"/>
              <a:gd name="connsiteY239" fmla="*/ 205943 h 538647"/>
              <a:gd name="connsiteX240" fmla="*/ 236734 w 545883"/>
              <a:gd name="connsiteY240" fmla="*/ 198981 h 538647"/>
              <a:gd name="connsiteX241" fmla="*/ 236734 w 545883"/>
              <a:gd name="connsiteY241" fmla="*/ 155157 h 538647"/>
              <a:gd name="connsiteX242" fmla="*/ 229382 w 545883"/>
              <a:gd name="connsiteY242" fmla="*/ 147785 h 538647"/>
              <a:gd name="connsiteX243" fmla="*/ 64752 w 545883"/>
              <a:gd name="connsiteY243" fmla="*/ 147785 h 538647"/>
              <a:gd name="connsiteX244" fmla="*/ 57776 w 545883"/>
              <a:gd name="connsiteY244" fmla="*/ 155157 h 538647"/>
              <a:gd name="connsiteX245" fmla="*/ 57776 w 545883"/>
              <a:gd name="connsiteY245" fmla="*/ 198981 h 538647"/>
              <a:gd name="connsiteX246" fmla="*/ 64752 w 545883"/>
              <a:gd name="connsiteY246" fmla="*/ 205943 h 538647"/>
              <a:gd name="connsiteX247" fmla="*/ 110301 w 545883"/>
              <a:gd name="connsiteY247" fmla="*/ 205943 h 538647"/>
              <a:gd name="connsiteX248" fmla="*/ 117277 w 545883"/>
              <a:gd name="connsiteY248" fmla="*/ 198981 h 538647"/>
              <a:gd name="connsiteX249" fmla="*/ 117277 w 545883"/>
              <a:gd name="connsiteY249" fmla="*/ 155157 h 538647"/>
              <a:gd name="connsiteX250" fmla="*/ 110301 w 545883"/>
              <a:gd name="connsiteY250" fmla="*/ 147785 h 538647"/>
              <a:gd name="connsiteX251" fmla="*/ 301819 w 545883"/>
              <a:gd name="connsiteY251" fmla="*/ 133860 h 538647"/>
              <a:gd name="connsiteX252" fmla="*/ 347581 w 545883"/>
              <a:gd name="connsiteY252" fmla="*/ 133860 h 538647"/>
              <a:gd name="connsiteX253" fmla="*/ 368607 w 545883"/>
              <a:gd name="connsiteY253" fmla="*/ 155157 h 538647"/>
              <a:gd name="connsiteX254" fmla="*/ 368607 w 545883"/>
              <a:gd name="connsiteY254" fmla="*/ 198981 h 538647"/>
              <a:gd name="connsiteX255" fmla="*/ 347581 w 545883"/>
              <a:gd name="connsiteY255" fmla="*/ 220278 h 538647"/>
              <a:gd name="connsiteX256" fmla="*/ 301819 w 545883"/>
              <a:gd name="connsiteY256" fmla="*/ 220278 h 538647"/>
              <a:gd name="connsiteX257" fmla="*/ 280381 w 545883"/>
              <a:gd name="connsiteY257" fmla="*/ 198981 h 538647"/>
              <a:gd name="connsiteX258" fmla="*/ 280381 w 545883"/>
              <a:gd name="connsiteY258" fmla="*/ 155157 h 538647"/>
              <a:gd name="connsiteX259" fmla="*/ 301819 w 545883"/>
              <a:gd name="connsiteY259" fmla="*/ 133860 h 538647"/>
              <a:gd name="connsiteX260" fmla="*/ 184043 w 545883"/>
              <a:gd name="connsiteY260" fmla="*/ 133860 h 538647"/>
              <a:gd name="connsiteX261" fmla="*/ 229382 w 545883"/>
              <a:gd name="connsiteY261" fmla="*/ 133860 h 538647"/>
              <a:gd name="connsiteX262" fmla="*/ 251030 w 545883"/>
              <a:gd name="connsiteY262" fmla="*/ 155157 h 538647"/>
              <a:gd name="connsiteX263" fmla="*/ 251030 w 545883"/>
              <a:gd name="connsiteY263" fmla="*/ 198981 h 538647"/>
              <a:gd name="connsiteX264" fmla="*/ 229382 w 545883"/>
              <a:gd name="connsiteY264" fmla="*/ 220278 h 538647"/>
              <a:gd name="connsiteX265" fmla="*/ 184043 w 545883"/>
              <a:gd name="connsiteY265" fmla="*/ 220278 h 538647"/>
              <a:gd name="connsiteX266" fmla="*/ 162803 w 545883"/>
              <a:gd name="connsiteY266" fmla="*/ 198981 h 538647"/>
              <a:gd name="connsiteX267" fmla="*/ 162803 w 545883"/>
              <a:gd name="connsiteY267" fmla="*/ 155157 h 538647"/>
              <a:gd name="connsiteX268" fmla="*/ 184043 w 545883"/>
              <a:gd name="connsiteY268" fmla="*/ 133860 h 538647"/>
              <a:gd name="connsiteX269" fmla="*/ 64752 w 545883"/>
              <a:gd name="connsiteY269" fmla="*/ 133860 h 538647"/>
              <a:gd name="connsiteX270" fmla="*/ 110301 w 545883"/>
              <a:gd name="connsiteY270" fmla="*/ 133860 h 538647"/>
              <a:gd name="connsiteX271" fmla="*/ 131640 w 545883"/>
              <a:gd name="connsiteY271" fmla="*/ 155157 h 538647"/>
              <a:gd name="connsiteX272" fmla="*/ 131640 w 545883"/>
              <a:gd name="connsiteY272" fmla="*/ 198981 h 538647"/>
              <a:gd name="connsiteX273" fmla="*/ 110301 w 545883"/>
              <a:gd name="connsiteY273" fmla="*/ 220278 h 538647"/>
              <a:gd name="connsiteX274" fmla="*/ 64752 w 545883"/>
              <a:gd name="connsiteY274" fmla="*/ 220278 h 538647"/>
              <a:gd name="connsiteX275" fmla="*/ 43414 w 545883"/>
              <a:gd name="connsiteY275" fmla="*/ 198981 h 538647"/>
              <a:gd name="connsiteX276" fmla="*/ 43414 w 545883"/>
              <a:gd name="connsiteY276" fmla="*/ 155157 h 538647"/>
              <a:gd name="connsiteX277" fmla="*/ 64752 w 545883"/>
              <a:gd name="connsiteY277" fmla="*/ 133860 h 538647"/>
              <a:gd name="connsiteX278" fmla="*/ 32811 w 545883"/>
              <a:gd name="connsiteY278" fmla="*/ 43934 h 538647"/>
              <a:gd name="connsiteX279" fmla="*/ 14355 w 545883"/>
              <a:gd name="connsiteY279" fmla="*/ 62001 h 538647"/>
              <a:gd name="connsiteX280" fmla="*/ 14355 w 545883"/>
              <a:gd name="connsiteY280" fmla="*/ 103472 h 538647"/>
              <a:gd name="connsiteX281" fmla="*/ 399887 w 545883"/>
              <a:gd name="connsiteY281" fmla="*/ 103472 h 538647"/>
              <a:gd name="connsiteX282" fmla="*/ 399887 w 545883"/>
              <a:gd name="connsiteY282" fmla="*/ 62001 h 538647"/>
              <a:gd name="connsiteX283" fmla="*/ 381431 w 545883"/>
              <a:gd name="connsiteY283" fmla="*/ 43934 h 538647"/>
              <a:gd name="connsiteX284" fmla="*/ 353951 w 545883"/>
              <a:gd name="connsiteY284" fmla="*/ 43934 h 538647"/>
              <a:gd name="connsiteX285" fmla="*/ 353951 w 545883"/>
              <a:gd name="connsiteY285" fmla="*/ 52557 h 538647"/>
              <a:gd name="connsiteX286" fmla="*/ 333034 w 545883"/>
              <a:gd name="connsiteY286" fmla="*/ 73498 h 538647"/>
              <a:gd name="connsiteX287" fmla="*/ 312117 w 545883"/>
              <a:gd name="connsiteY287" fmla="*/ 52557 h 538647"/>
              <a:gd name="connsiteX288" fmla="*/ 312117 w 545883"/>
              <a:gd name="connsiteY288" fmla="*/ 43934 h 538647"/>
              <a:gd name="connsiteX289" fmla="*/ 102125 w 545883"/>
              <a:gd name="connsiteY289" fmla="*/ 43934 h 538647"/>
              <a:gd name="connsiteX290" fmla="*/ 102125 w 545883"/>
              <a:gd name="connsiteY290" fmla="*/ 52557 h 538647"/>
              <a:gd name="connsiteX291" fmla="*/ 81208 w 545883"/>
              <a:gd name="connsiteY291" fmla="*/ 73498 h 538647"/>
              <a:gd name="connsiteX292" fmla="*/ 60291 w 545883"/>
              <a:gd name="connsiteY292" fmla="*/ 52557 h 538647"/>
              <a:gd name="connsiteX293" fmla="*/ 60291 w 545883"/>
              <a:gd name="connsiteY293" fmla="*/ 43934 h 538647"/>
              <a:gd name="connsiteX294" fmla="*/ 333034 w 545883"/>
              <a:gd name="connsiteY294" fmla="*/ 13960 h 538647"/>
              <a:gd name="connsiteX295" fmla="*/ 326472 w 545883"/>
              <a:gd name="connsiteY295" fmla="*/ 20941 h 538647"/>
              <a:gd name="connsiteX296" fmla="*/ 326472 w 545883"/>
              <a:gd name="connsiteY296" fmla="*/ 52557 h 538647"/>
              <a:gd name="connsiteX297" fmla="*/ 333034 w 545883"/>
              <a:gd name="connsiteY297" fmla="*/ 59127 h 538647"/>
              <a:gd name="connsiteX298" fmla="*/ 339596 w 545883"/>
              <a:gd name="connsiteY298" fmla="*/ 52557 h 538647"/>
              <a:gd name="connsiteX299" fmla="*/ 339596 w 545883"/>
              <a:gd name="connsiteY299" fmla="*/ 20941 h 538647"/>
              <a:gd name="connsiteX300" fmla="*/ 333034 w 545883"/>
              <a:gd name="connsiteY300" fmla="*/ 13960 h 538647"/>
              <a:gd name="connsiteX301" fmla="*/ 81208 w 545883"/>
              <a:gd name="connsiteY301" fmla="*/ 13960 h 538647"/>
              <a:gd name="connsiteX302" fmla="*/ 74646 w 545883"/>
              <a:gd name="connsiteY302" fmla="*/ 20941 h 538647"/>
              <a:gd name="connsiteX303" fmla="*/ 74646 w 545883"/>
              <a:gd name="connsiteY303" fmla="*/ 52557 h 538647"/>
              <a:gd name="connsiteX304" fmla="*/ 81208 w 545883"/>
              <a:gd name="connsiteY304" fmla="*/ 59127 h 538647"/>
              <a:gd name="connsiteX305" fmla="*/ 88180 w 545883"/>
              <a:gd name="connsiteY305" fmla="*/ 52557 h 538647"/>
              <a:gd name="connsiteX306" fmla="*/ 88180 w 545883"/>
              <a:gd name="connsiteY306" fmla="*/ 20941 h 538647"/>
              <a:gd name="connsiteX307" fmla="*/ 81208 w 545883"/>
              <a:gd name="connsiteY307" fmla="*/ 13960 h 538647"/>
              <a:gd name="connsiteX308" fmla="*/ 81208 w 545883"/>
              <a:gd name="connsiteY308" fmla="*/ 0 h 538647"/>
              <a:gd name="connsiteX309" fmla="*/ 102125 w 545883"/>
              <a:gd name="connsiteY309" fmla="*/ 20941 h 538647"/>
              <a:gd name="connsiteX310" fmla="*/ 102125 w 545883"/>
              <a:gd name="connsiteY310" fmla="*/ 29153 h 538647"/>
              <a:gd name="connsiteX311" fmla="*/ 312117 w 545883"/>
              <a:gd name="connsiteY311" fmla="*/ 29153 h 538647"/>
              <a:gd name="connsiteX312" fmla="*/ 312117 w 545883"/>
              <a:gd name="connsiteY312" fmla="*/ 20941 h 538647"/>
              <a:gd name="connsiteX313" fmla="*/ 333034 w 545883"/>
              <a:gd name="connsiteY313" fmla="*/ 0 h 538647"/>
              <a:gd name="connsiteX314" fmla="*/ 353951 w 545883"/>
              <a:gd name="connsiteY314" fmla="*/ 20941 h 538647"/>
              <a:gd name="connsiteX315" fmla="*/ 353951 w 545883"/>
              <a:gd name="connsiteY315" fmla="*/ 29153 h 538647"/>
              <a:gd name="connsiteX316" fmla="*/ 381431 w 545883"/>
              <a:gd name="connsiteY316" fmla="*/ 29153 h 538647"/>
              <a:gd name="connsiteX317" fmla="*/ 413832 w 545883"/>
              <a:gd name="connsiteY317" fmla="*/ 62001 h 538647"/>
              <a:gd name="connsiteX318" fmla="*/ 413832 w 545883"/>
              <a:gd name="connsiteY318" fmla="*/ 322734 h 538647"/>
              <a:gd name="connsiteX319" fmla="*/ 406859 w 545883"/>
              <a:gd name="connsiteY319" fmla="*/ 330125 h 538647"/>
              <a:gd name="connsiteX320" fmla="*/ 399887 w 545883"/>
              <a:gd name="connsiteY320" fmla="*/ 322734 h 538647"/>
              <a:gd name="connsiteX321" fmla="*/ 399887 w 545883"/>
              <a:gd name="connsiteY321" fmla="*/ 118253 h 538647"/>
              <a:gd name="connsiteX322" fmla="*/ 14355 w 545883"/>
              <a:gd name="connsiteY322" fmla="*/ 118253 h 538647"/>
              <a:gd name="connsiteX323" fmla="*/ 14355 w 545883"/>
              <a:gd name="connsiteY323" fmla="*/ 426206 h 538647"/>
              <a:gd name="connsiteX324" fmla="*/ 32811 w 545883"/>
              <a:gd name="connsiteY324" fmla="*/ 444684 h 538647"/>
              <a:gd name="connsiteX325" fmla="*/ 319499 w 545883"/>
              <a:gd name="connsiteY325" fmla="*/ 444684 h 538647"/>
              <a:gd name="connsiteX326" fmla="*/ 326472 w 545883"/>
              <a:gd name="connsiteY326" fmla="*/ 451664 h 538647"/>
              <a:gd name="connsiteX327" fmla="*/ 319499 w 545883"/>
              <a:gd name="connsiteY327" fmla="*/ 459055 h 538647"/>
              <a:gd name="connsiteX328" fmla="*/ 32811 w 545883"/>
              <a:gd name="connsiteY328" fmla="*/ 459055 h 538647"/>
              <a:gd name="connsiteX329" fmla="*/ 0 w 545883"/>
              <a:gd name="connsiteY329" fmla="*/ 426206 h 538647"/>
              <a:gd name="connsiteX330" fmla="*/ 0 w 545883"/>
              <a:gd name="connsiteY330" fmla="*/ 62001 h 538647"/>
              <a:gd name="connsiteX331" fmla="*/ 32811 w 545883"/>
              <a:gd name="connsiteY331" fmla="*/ 29153 h 538647"/>
              <a:gd name="connsiteX332" fmla="*/ 60291 w 545883"/>
              <a:gd name="connsiteY332" fmla="*/ 29153 h 538647"/>
              <a:gd name="connsiteX333" fmla="*/ 60291 w 545883"/>
              <a:gd name="connsiteY333" fmla="*/ 20941 h 538647"/>
              <a:gd name="connsiteX334" fmla="*/ 81208 w 545883"/>
              <a:gd name="connsiteY334" fmla="*/ 0 h 53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</a:cxnLst>
            <a:rect l="l" t="t" r="r" b="b"/>
            <a:pathLst>
              <a:path w="545883" h="538647">
                <a:moveTo>
                  <a:pt x="235485" y="393071"/>
                </a:moveTo>
                <a:lnTo>
                  <a:pt x="216729" y="412230"/>
                </a:lnTo>
                <a:lnTo>
                  <a:pt x="228146" y="412230"/>
                </a:lnTo>
                <a:cubicBezTo>
                  <a:pt x="232223" y="412230"/>
                  <a:pt x="235485" y="408969"/>
                  <a:pt x="235485" y="404893"/>
                </a:cubicBezTo>
                <a:close/>
                <a:moveTo>
                  <a:pt x="442901" y="392534"/>
                </a:moveTo>
                <a:cubicBezTo>
                  <a:pt x="446581" y="392534"/>
                  <a:pt x="449853" y="395776"/>
                  <a:pt x="449853" y="399828"/>
                </a:cubicBezTo>
                <a:lnTo>
                  <a:pt x="449853" y="428597"/>
                </a:lnTo>
                <a:lnTo>
                  <a:pt x="475619" y="428597"/>
                </a:lnTo>
                <a:cubicBezTo>
                  <a:pt x="479708" y="428597"/>
                  <a:pt x="482571" y="431839"/>
                  <a:pt x="482571" y="435485"/>
                </a:cubicBezTo>
                <a:cubicBezTo>
                  <a:pt x="482571" y="439537"/>
                  <a:pt x="479708" y="442779"/>
                  <a:pt x="475619" y="442779"/>
                </a:cubicBezTo>
                <a:lnTo>
                  <a:pt x="442901" y="442779"/>
                </a:lnTo>
                <a:cubicBezTo>
                  <a:pt x="438811" y="442779"/>
                  <a:pt x="435948" y="439537"/>
                  <a:pt x="435948" y="435485"/>
                </a:cubicBezTo>
                <a:lnTo>
                  <a:pt x="435948" y="399828"/>
                </a:lnTo>
                <a:cubicBezTo>
                  <a:pt x="435948" y="395776"/>
                  <a:pt x="438811" y="392534"/>
                  <a:pt x="442901" y="392534"/>
                </a:cubicBezTo>
                <a:close/>
                <a:moveTo>
                  <a:pt x="444089" y="385180"/>
                </a:moveTo>
                <a:cubicBezTo>
                  <a:pt x="415382" y="385180"/>
                  <a:pt x="392416" y="408146"/>
                  <a:pt x="392416" y="436443"/>
                </a:cubicBezTo>
                <a:cubicBezTo>
                  <a:pt x="392416" y="465149"/>
                  <a:pt x="415382" y="488115"/>
                  <a:pt x="444089" y="488115"/>
                </a:cubicBezTo>
                <a:cubicBezTo>
                  <a:pt x="472385" y="488115"/>
                  <a:pt x="495351" y="465149"/>
                  <a:pt x="495351" y="436443"/>
                </a:cubicBezTo>
                <a:cubicBezTo>
                  <a:pt x="495351" y="408146"/>
                  <a:pt x="472385" y="385180"/>
                  <a:pt x="444089" y="385180"/>
                </a:cubicBezTo>
                <a:close/>
                <a:moveTo>
                  <a:pt x="444089" y="370827"/>
                </a:moveTo>
                <a:cubicBezTo>
                  <a:pt x="480177" y="370827"/>
                  <a:pt x="509704" y="400764"/>
                  <a:pt x="509704" y="436443"/>
                </a:cubicBezTo>
                <a:cubicBezTo>
                  <a:pt x="509704" y="472941"/>
                  <a:pt x="480177" y="502468"/>
                  <a:pt x="444089" y="502468"/>
                </a:cubicBezTo>
                <a:cubicBezTo>
                  <a:pt x="407590" y="502468"/>
                  <a:pt x="378063" y="472941"/>
                  <a:pt x="378063" y="436443"/>
                </a:cubicBezTo>
                <a:cubicBezTo>
                  <a:pt x="378063" y="400764"/>
                  <a:pt x="407590" y="370827"/>
                  <a:pt x="444089" y="370827"/>
                </a:cubicBezTo>
                <a:close/>
                <a:moveTo>
                  <a:pt x="231000" y="359236"/>
                </a:moveTo>
                <a:cubicBezTo>
                  <a:pt x="230184" y="359644"/>
                  <a:pt x="229369" y="360459"/>
                  <a:pt x="228961" y="360459"/>
                </a:cubicBezTo>
                <a:lnTo>
                  <a:pt x="204904" y="384918"/>
                </a:lnTo>
                <a:cubicBezTo>
                  <a:pt x="202458" y="386956"/>
                  <a:pt x="199603" y="388179"/>
                  <a:pt x="196749" y="388179"/>
                </a:cubicBezTo>
                <a:cubicBezTo>
                  <a:pt x="193487" y="388179"/>
                  <a:pt x="190633" y="386956"/>
                  <a:pt x="188594" y="384918"/>
                </a:cubicBezTo>
                <a:lnTo>
                  <a:pt x="182886" y="379210"/>
                </a:lnTo>
                <a:cubicBezTo>
                  <a:pt x="182070" y="378803"/>
                  <a:pt x="181663" y="378395"/>
                  <a:pt x="180439" y="377988"/>
                </a:cubicBezTo>
                <a:cubicBezTo>
                  <a:pt x="180032" y="377580"/>
                  <a:pt x="179624" y="377580"/>
                  <a:pt x="179216" y="377580"/>
                </a:cubicBezTo>
                <a:cubicBezTo>
                  <a:pt x="178808" y="377580"/>
                  <a:pt x="178401" y="377580"/>
                  <a:pt x="177993" y="377580"/>
                </a:cubicBezTo>
                <a:cubicBezTo>
                  <a:pt x="177585" y="377580"/>
                  <a:pt x="176770" y="377580"/>
                  <a:pt x="175954" y="377580"/>
                </a:cubicBezTo>
                <a:lnTo>
                  <a:pt x="175546" y="377580"/>
                </a:lnTo>
                <a:cubicBezTo>
                  <a:pt x="175139" y="377988"/>
                  <a:pt x="174731" y="378395"/>
                  <a:pt x="173916" y="378803"/>
                </a:cubicBezTo>
                <a:cubicBezTo>
                  <a:pt x="173508" y="378803"/>
                  <a:pt x="173508" y="378803"/>
                  <a:pt x="173508" y="379210"/>
                </a:cubicBezTo>
                <a:lnTo>
                  <a:pt x="173100" y="379618"/>
                </a:lnTo>
                <a:cubicBezTo>
                  <a:pt x="170654" y="382064"/>
                  <a:pt x="170654" y="386140"/>
                  <a:pt x="173508" y="388994"/>
                </a:cubicBezTo>
                <a:lnTo>
                  <a:pt x="189002" y="404485"/>
                </a:lnTo>
                <a:cubicBezTo>
                  <a:pt x="192264" y="407746"/>
                  <a:pt x="197565" y="408561"/>
                  <a:pt x="201234" y="406523"/>
                </a:cubicBezTo>
                <a:cubicBezTo>
                  <a:pt x="202458" y="406115"/>
                  <a:pt x="203681" y="405300"/>
                  <a:pt x="204496" y="404485"/>
                </a:cubicBezTo>
                <a:lnTo>
                  <a:pt x="230592" y="377580"/>
                </a:lnTo>
                <a:lnTo>
                  <a:pt x="238339" y="370242"/>
                </a:lnTo>
                <a:cubicBezTo>
                  <a:pt x="239563" y="369019"/>
                  <a:pt x="240378" y="367389"/>
                  <a:pt x="240378" y="365351"/>
                </a:cubicBezTo>
                <a:cubicBezTo>
                  <a:pt x="240378" y="363720"/>
                  <a:pt x="239563" y="362089"/>
                  <a:pt x="238339" y="360459"/>
                </a:cubicBezTo>
                <a:cubicBezTo>
                  <a:pt x="237524" y="360459"/>
                  <a:pt x="237116" y="359644"/>
                  <a:pt x="236301" y="359236"/>
                </a:cubicBezTo>
                <a:cubicBezTo>
                  <a:pt x="235893" y="359236"/>
                  <a:pt x="235893" y="359236"/>
                  <a:pt x="235485" y="359236"/>
                </a:cubicBezTo>
                <a:cubicBezTo>
                  <a:pt x="235077" y="359236"/>
                  <a:pt x="234262" y="359236"/>
                  <a:pt x="233854" y="359236"/>
                </a:cubicBezTo>
                <a:lnTo>
                  <a:pt x="233446" y="359236"/>
                </a:lnTo>
                <a:cubicBezTo>
                  <a:pt x="232631" y="359236"/>
                  <a:pt x="231815" y="359236"/>
                  <a:pt x="231408" y="359236"/>
                </a:cubicBezTo>
                <a:cubicBezTo>
                  <a:pt x="231000" y="359236"/>
                  <a:pt x="231000" y="359236"/>
                  <a:pt x="231000" y="359236"/>
                </a:cubicBezTo>
                <a:close/>
                <a:moveTo>
                  <a:pt x="182886" y="354344"/>
                </a:moveTo>
                <a:cubicBezTo>
                  <a:pt x="179216" y="354344"/>
                  <a:pt x="175954" y="357605"/>
                  <a:pt x="175954" y="361274"/>
                </a:cubicBezTo>
                <a:lnTo>
                  <a:pt x="175954" y="363312"/>
                </a:lnTo>
                <a:cubicBezTo>
                  <a:pt x="176362" y="363312"/>
                  <a:pt x="176362" y="363312"/>
                  <a:pt x="176770" y="363312"/>
                </a:cubicBezTo>
                <a:cubicBezTo>
                  <a:pt x="177585" y="363312"/>
                  <a:pt x="178808" y="363312"/>
                  <a:pt x="180032" y="363312"/>
                </a:cubicBezTo>
                <a:cubicBezTo>
                  <a:pt x="180439" y="363312"/>
                  <a:pt x="180439" y="363312"/>
                  <a:pt x="180847" y="363312"/>
                </a:cubicBezTo>
                <a:cubicBezTo>
                  <a:pt x="182070" y="363720"/>
                  <a:pt x="182886" y="363720"/>
                  <a:pt x="184109" y="364128"/>
                </a:cubicBezTo>
                <a:cubicBezTo>
                  <a:pt x="184517" y="364535"/>
                  <a:pt x="184925" y="364535"/>
                  <a:pt x="184925" y="364535"/>
                </a:cubicBezTo>
                <a:cubicBezTo>
                  <a:pt x="186148" y="364943"/>
                  <a:pt x="187371" y="365351"/>
                  <a:pt x="188187" y="366166"/>
                </a:cubicBezTo>
                <a:cubicBezTo>
                  <a:pt x="188594" y="366166"/>
                  <a:pt x="188594" y="366166"/>
                  <a:pt x="189410" y="366166"/>
                </a:cubicBezTo>
                <a:cubicBezTo>
                  <a:pt x="190633" y="367389"/>
                  <a:pt x="191449" y="368204"/>
                  <a:pt x="192672" y="369427"/>
                </a:cubicBezTo>
                <a:lnTo>
                  <a:pt x="196749" y="373096"/>
                </a:lnTo>
                <a:lnTo>
                  <a:pt x="215098" y="354344"/>
                </a:lnTo>
                <a:close/>
                <a:moveTo>
                  <a:pt x="64752" y="354344"/>
                </a:moveTo>
                <a:cubicBezTo>
                  <a:pt x="60649" y="354344"/>
                  <a:pt x="57776" y="357605"/>
                  <a:pt x="57776" y="361274"/>
                </a:cubicBezTo>
                <a:lnTo>
                  <a:pt x="57776" y="404893"/>
                </a:lnTo>
                <a:cubicBezTo>
                  <a:pt x="57776" y="408969"/>
                  <a:pt x="60649" y="412230"/>
                  <a:pt x="64752" y="412230"/>
                </a:cubicBezTo>
                <a:lnTo>
                  <a:pt x="110301" y="412230"/>
                </a:lnTo>
                <a:cubicBezTo>
                  <a:pt x="113994" y="412230"/>
                  <a:pt x="117277" y="408969"/>
                  <a:pt x="117277" y="404893"/>
                </a:cubicBezTo>
                <a:lnTo>
                  <a:pt x="117277" y="361274"/>
                </a:lnTo>
                <a:cubicBezTo>
                  <a:pt x="117277" y="357605"/>
                  <a:pt x="113994" y="354344"/>
                  <a:pt x="110301" y="354344"/>
                </a:cubicBezTo>
                <a:close/>
                <a:moveTo>
                  <a:pt x="301779" y="340077"/>
                </a:moveTo>
                <a:lnTo>
                  <a:pt x="347457" y="340077"/>
                </a:lnTo>
                <a:cubicBezTo>
                  <a:pt x="354041" y="340077"/>
                  <a:pt x="360213" y="342930"/>
                  <a:pt x="364328" y="348637"/>
                </a:cubicBezTo>
                <a:cubicBezTo>
                  <a:pt x="366797" y="351491"/>
                  <a:pt x="365974" y="355567"/>
                  <a:pt x="362682" y="358013"/>
                </a:cubicBezTo>
                <a:cubicBezTo>
                  <a:pt x="359802" y="360459"/>
                  <a:pt x="355275" y="360459"/>
                  <a:pt x="352806" y="356790"/>
                </a:cubicBezTo>
                <a:cubicBezTo>
                  <a:pt x="351572" y="355160"/>
                  <a:pt x="349514" y="354344"/>
                  <a:pt x="347457" y="354344"/>
                </a:cubicBezTo>
                <a:lnTo>
                  <a:pt x="301779" y="354344"/>
                </a:lnTo>
                <a:cubicBezTo>
                  <a:pt x="297664" y="354344"/>
                  <a:pt x="294372" y="357605"/>
                  <a:pt x="294372" y="361274"/>
                </a:cubicBezTo>
                <a:lnTo>
                  <a:pt x="294372" y="404893"/>
                </a:lnTo>
                <a:cubicBezTo>
                  <a:pt x="294372" y="408969"/>
                  <a:pt x="297664" y="412230"/>
                  <a:pt x="301779" y="412230"/>
                </a:cubicBezTo>
                <a:lnTo>
                  <a:pt x="326058" y="412230"/>
                </a:lnTo>
                <a:cubicBezTo>
                  <a:pt x="329762" y="412230"/>
                  <a:pt x="333054" y="415084"/>
                  <a:pt x="333054" y="419160"/>
                </a:cubicBezTo>
                <a:cubicBezTo>
                  <a:pt x="333054" y="422829"/>
                  <a:pt x="329762" y="426498"/>
                  <a:pt x="326058" y="426498"/>
                </a:cubicBezTo>
                <a:lnTo>
                  <a:pt x="301779" y="426498"/>
                </a:lnTo>
                <a:cubicBezTo>
                  <a:pt x="289846" y="426498"/>
                  <a:pt x="280381" y="416714"/>
                  <a:pt x="280381" y="404893"/>
                </a:cubicBezTo>
                <a:lnTo>
                  <a:pt x="280381" y="361274"/>
                </a:lnTo>
                <a:cubicBezTo>
                  <a:pt x="280381" y="349860"/>
                  <a:pt x="289846" y="340077"/>
                  <a:pt x="301779" y="340077"/>
                </a:cubicBezTo>
                <a:close/>
                <a:moveTo>
                  <a:pt x="182886" y="340077"/>
                </a:moveTo>
                <a:lnTo>
                  <a:pt x="228146" y="340077"/>
                </a:lnTo>
                <a:cubicBezTo>
                  <a:pt x="234670" y="340077"/>
                  <a:pt x="240786" y="342930"/>
                  <a:pt x="244863" y="347822"/>
                </a:cubicBezTo>
                <a:cubicBezTo>
                  <a:pt x="246087" y="348637"/>
                  <a:pt x="247310" y="349453"/>
                  <a:pt x="248533" y="350675"/>
                </a:cubicBezTo>
                <a:cubicBezTo>
                  <a:pt x="252203" y="354344"/>
                  <a:pt x="254649" y="359644"/>
                  <a:pt x="254649" y="365351"/>
                </a:cubicBezTo>
                <a:cubicBezTo>
                  <a:pt x="254649" y="370242"/>
                  <a:pt x="252610" y="374726"/>
                  <a:pt x="249756" y="378803"/>
                </a:cubicBezTo>
                <a:lnTo>
                  <a:pt x="249756" y="404893"/>
                </a:lnTo>
                <a:cubicBezTo>
                  <a:pt x="249756" y="416714"/>
                  <a:pt x="239970" y="426498"/>
                  <a:pt x="228146" y="426498"/>
                </a:cubicBezTo>
                <a:lnTo>
                  <a:pt x="182886" y="426498"/>
                </a:lnTo>
                <a:cubicBezTo>
                  <a:pt x="171469" y="426498"/>
                  <a:pt x="161683" y="416714"/>
                  <a:pt x="161683" y="404893"/>
                </a:cubicBezTo>
                <a:lnTo>
                  <a:pt x="161683" y="397147"/>
                </a:lnTo>
                <a:cubicBezTo>
                  <a:pt x="155567" y="389402"/>
                  <a:pt x="155567" y="378803"/>
                  <a:pt x="161683" y="371058"/>
                </a:cubicBezTo>
                <a:lnTo>
                  <a:pt x="161683" y="361274"/>
                </a:lnTo>
                <a:cubicBezTo>
                  <a:pt x="161683" y="349860"/>
                  <a:pt x="171469" y="340077"/>
                  <a:pt x="182886" y="340077"/>
                </a:cubicBezTo>
                <a:close/>
                <a:moveTo>
                  <a:pt x="64752" y="340077"/>
                </a:moveTo>
                <a:lnTo>
                  <a:pt x="110301" y="340077"/>
                </a:lnTo>
                <a:cubicBezTo>
                  <a:pt x="122201" y="340077"/>
                  <a:pt x="131640" y="349860"/>
                  <a:pt x="131640" y="361274"/>
                </a:cubicBezTo>
                <a:lnTo>
                  <a:pt x="131640" y="404893"/>
                </a:lnTo>
                <a:cubicBezTo>
                  <a:pt x="131640" y="416714"/>
                  <a:pt x="122201" y="426498"/>
                  <a:pt x="110301" y="426498"/>
                </a:cubicBezTo>
                <a:lnTo>
                  <a:pt x="64752" y="426498"/>
                </a:lnTo>
                <a:cubicBezTo>
                  <a:pt x="52852" y="426498"/>
                  <a:pt x="43414" y="416714"/>
                  <a:pt x="43414" y="404893"/>
                </a:cubicBezTo>
                <a:lnTo>
                  <a:pt x="43414" y="361274"/>
                </a:lnTo>
                <a:cubicBezTo>
                  <a:pt x="43414" y="349860"/>
                  <a:pt x="52852" y="340077"/>
                  <a:pt x="64752" y="340077"/>
                </a:cubicBezTo>
                <a:close/>
                <a:moveTo>
                  <a:pt x="443540" y="332841"/>
                </a:moveTo>
                <a:cubicBezTo>
                  <a:pt x="500033" y="332841"/>
                  <a:pt x="545883" y="378849"/>
                  <a:pt x="545883" y="435539"/>
                </a:cubicBezTo>
                <a:cubicBezTo>
                  <a:pt x="545883" y="492228"/>
                  <a:pt x="500033" y="538647"/>
                  <a:pt x="443540" y="538647"/>
                </a:cubicBezTo>
                <a:cubicBezTo>
                  <a:pt x="389503" y="538647"/>
                  <a:pt x="344882" y="496747"/>
                  <a:pt x="341198" y="442933"/>
                </a:cubicBezTo>
                <a:cubicBezTo>
                  <a:pt x="340788" y="438825"/>
                  <a:pt x="343654" y="435539"/>
                  <a:pt x="347748" y="435128"/>
                </a:cubicBezTo>
                <a:cubicBezTo>
                  <a:pt x="351841" y="435128"/>
                  <a:pt x="355116" y="438004"/>
                  <a:pt x="355526" y="442112"/>
                </a:cubicBezTo>
                <a:cubicBezTo>
                  <a:pt x="358391" y="488120"/>
                  <a:pt x="397281" y="524270"/>
                  <a:pt x="443540" y="524270"/>
                </a:cubicBezTo>
                <a:cubicBezTo>
                  <a:pt x="491846" y="524270"/>
                  <a:pt x="531145" y="484834"/>
                  <a:pt x="531145" y="435539"/>
                </a:cubicBezTo>
                <a:cubicBezTo>
                  <a:pt x="531145" y="387065"/>
                  <a:pt x="491846" y="347218"/>
                  <a:pt x="443540" y="347218"/>
                </a:cubicBezTo>
                <a:cubicBezTo>
                  <a:pt x="411200" y="347218"/>
                  <a:pt x="382954" y="364061"/>
                  <a:pt x="366988" y="390762"/>
                </a:cubicBezTo>
                <a:lnTo>
                  <a:pt x="373947" y="386654"/>
                </a:lnTo>
                <a:cubicBezTo>
                  <a:pt x="377222" y="384600"/>
                  <a:pt x="381316" y="385422"/>
                  <a:pt x="383363" y="388708"/>
                </a:cubicBezTo>
                <a:cubicBezTo>
                  <a:pt x="385819" y="391995"/>
                  <a:pt x="384591" y="396514"/>
                  <a:pt x="381316" y="398568"/>
                </a:cubicBezTo>
                <a:lnTo>
                  <a:pt x="355116" y="414999"/>
                </a:lnTo>
                <a:cubicBezTo>
                  <a:pt x="354298" y="415821"/>
                  <a:pt x="352660" y="416232"/>
                  <a:pt x="351432" y="416232"/>
                </a:cubicBezTo>
                <a:cubicBezTo>
                  <a:pt x="350613" y="416232"/>
                  <a:pt x="349795" y="416232"/>
                  <a:pt x="348976" y="415821"/>
                </a:cubicBezTo>
                <a:cubicBezTo>
                  <a:pt x="346929" y="414999"/>
                  <a:pt x="345292" y="413356"/>
                  <a:pt x="344882" y="411302"/>
                </a:cubicBezTo>
                <a:lnTo>
                  <a:pt x="335467" y="382546"/>
                </a:lnTo>
                <a:cubicBezTo>
                  <a:pt x="334648" y="378849"/>
                  <a:pt x="336695" y="374741"/>
                  <a:pt x="340379" y="373509"/>
                </a:cubicBezTo>
                <a:cubicBezTo>
                  <a:pt x="344063" y="372277"/>
                  <a:pt x="348157" y="374331"/>
                  <a:pt x="349385" y="378028"/>
                </a:cubicBezTo>
                <a:lnTo>
                  <a:pt x="352251" y="388298"/>
                </a:lnTo>
                <a:cubicBezTo>
                  <a:pt x="369444" y="354202"/>
                  <a:pt x="404241" y="332841"/>
                  <a:pt x="443540" y="332841"/>
                </a:cubicBezTo>
                <a:close/>
                <a:moveTo>
                  <a:pt x="117905" y="289960"/>
                </a:moveTo>
                <a:lnTo>
                  <a:pt x="99148" y="309120"/>
                </a:lnTo>
                <a:lnTo>
                  <a:pt x="110973" y="309120"/>
                </a:lnTo>
                <a:cubicBezTo>
                  <a:pt x="114643" y="309120"/>
                  <a:pt x="117905" y="305858"/>
                  <a:pt x="117905" y="302190"/>
                </a:cubicBezTo>
                <a:close/>
                <a:moveTo>
                  <a:pt x="115458" y="255718"/>
                </a:moveTo>
                <a:cubicBezTo>
                  <a:pt x="115051" y="256126"/>
                  <a:pt x="114643" y="256126"/>
                  <a:pt x="114235" y="256126"/>
                </a:cubicBezTo>
                <a:cubicBezTo>
                  <a:pt x="113827" y="256126"/>
                  <a:pt x="113420" y="256126"/>
                  <a:pt x="113420" y="256126"/>
                </a:cubicBezTo>
                <a:cubicBezTo>
                  <a:pt x="112604" y="256534"/>
                  <a:pt x="112196" y="257349"/>
                  <a:pt x="111381" y="257349"/>
                </a:cubicBezTo>
                <a:cubicBezTo>
                  <a:pt x="111381" y="257349"/>
                  <a:pt x="110973" y="257349"/>
                  <a:pt x="110973" y="257757"/>
                </a:cubicBezTo>
                <a:lnTo>
                  <a:pt x="87324" y="281808"/>
                </a:lnTo>
                <a:cubicBezTo>
                  <a:pt x="82838" y="286292"/>
                  <a:pt x="75499" y="286292"/>
                  <a:pt x="71014" y="281808"/>
                </a:cubicBezTo>
                <a:lnTo>
                  <a:pt x="65305" y="276508"/>
                </a:lnTo>
                <a:cubicBezTo>
                  <a:pt x="64490" y="275693"/>
                  <a:pt x="63674" y="275285"/>
                  <a:pt x="63266" y="274878"/>
                </a:cubicBezTo>
                <a:cubicBezTo>
                  <a:pt x="62451" y="274878"/>
                  <a:pt x="62043" y="274878"/>
                  <a:pt x="61228" y="274470"/>
                </a:cubicBezTo>
                <a:cubicBezTo>
                  <a:pt x="61228" y="274470"/>
                  <a:pt x="61228" y="274470"/>
                  <a:pt x="60820" y="274470"/>
                </a:cubicBezTo>
                <a:cubicBezTo>
                  <a:pt x="60004" y="274470"/>
                  <a:pt x="59189" y="274470"/>
                  <a:pt x="58373" y="274878"/>
                </a:cubicBezTo>
                <a:cubicBezTo>
                  <a:pt x="57558" y="274878"/>
                  <a:pt x="56742" y="275285"/>
                  <a:pt x="56335" y="276100"/>
                </a:cubicBezTo>
                <a:cubicBezTo>
                  <a:pt x="56335" y="276100"/>
                  <a:pt x="56335" y="276100"/>
                  <a:pt x="55927" y="276100"/>
                </a:cubicBezTo>
                <a:lnTo>
                  <a:pt x="55519" y="276508"/>
                </a:lnTo>
                <a:cubicBezTo>
                  <a:pt x="53073" y="279362"/>
                  <a:pt x="53073" y="283438"/>
                  <a:pt x="55519" y="285884"/>
                </a:cubicBezTo>
                <a:lnTo>
                  <a:pt x="58373" y="288737"/>
                </a:lnTo>
                <a:lnTo>
                  <a:pt x="71421" y="301374"/>
                </a:lnTo>
                <a:cubicBezTo>
                  <a:pt x="72645" y="302597"/>
                  <a:pt x="73868" y="303413"/>
                  <a:pt x="75499" y="303820"/>
                </a:cubicBezTo>
                <a:cubicBezTo>
                  <a:pt x="79169" y="305043"/>
                  <a:pt x="84062" y="304636"/>
                  <a:pt x="86508" y="301374"/>
                </a:cubicBezTo>
                <a:lnTo>
                  <a:pt x="104449" y="283438"/>
                </a:lnTo>
                <a:lnTo>
                  <a:pt x="120759" y="267132"/>
                </a:lnTo>
                <a:cubicBezTo>
                  <a:pt x="121982" y="265909"/>
                  <a:pt x="122798" y="264279"/>
                  <a:pt x="122798" y="262241"/>
                </a:cubicBezTo>
                <a:cubicBezTo>
                  <a:pt x="122798" y="260610"/>
                  <a:pt x="121982" y="258979"/>
                  <a:pt x="120759" y="257757"/>
                </a:cubicBezTo>
                <a:cubicBezTo>
                  <a:pt x="120351" y="257349"/>
                  <a:pt x="119536" y="256941"/>
                  <a:pt x="119128" y="256534"/>
                </a:cubicBezTo>
                <a:cubicBezTo>
                  <a:pt x="118313" y="256126"/>
                  <a:pt x="117905" y="256126"/>
                  <a:pt x="117905" y="256126"/>
                </a:cubicBezTo>
                <a:cubicBezTo>
                  <a:pt x="117089" y="256126"/>
                  <a:pt x="116682" y="256126"/>
                  <a:pt x="116682" y="256126"/>
                </a:cubicBezTo>
                <a:cubicBezTo>
                  <a:pt x="116274" y="255718"/>
                  <a:pt x="115866" y="255718"/>
                  <a:pt x="115458" y="255718"/>
                </a:cubicBezTo>
                <a:close/>
                <a:moveTo>
                  <a:pt x="301819" y="251642"/>
                </a:moveTo>
                <a:cubicBezTo>
                  <a:pt x="297696" y="251642"/>
                  <a:pt x="294398" y="254495"/>
                  <a:pt x="294398" y="258572"/>
                </a:cubicBezTo>
                <a:lnTo>
                  <a:pt x="294398" y="302190"/>
                </a:lnTo>
                <a:cubicBezTo>
                  <a:pt x="294398" y="305858"/>
                  <a:pt x="297696" y="309120"/>
                  <a:pt x="301819" y="309120"/>
                </a:cubicBezTo>
                <a:lnTo>
                  <a:pt x="347581" y="309120"/>
                </a:lnTo>
                <a:cubicBezTo>
                  <a:pt x="351291" y="309120"/>
                  <a:pt x="354589" y="305858"/>
                  <a:pt x="354589" y="302190"/>
                </a:cubicBezTo>
                <a:lnTo>
                  <a:pt x="354589" y="258572"/>
                </a:lnTo>
                <a:cubicBezTo>
                  <a:pt x="354589" y="254495"/>
                  <a:pt x="351291" y="251642"/>
                  <a:pt x="347581" y="251642"/>
                </a:cubicBezTo>
                <a:close/>
                <a:moveTo>
                  <a:pt x="184043" y="251642"/>
                </a:moveTo>
                <a:cubicBezTo>
                  <a:pt x="180367" y="251642"/>
                  <a:pt x="177099" y="254495"/>
                  <a:pt x="177099" y="258572"/>
                </a:cubicBezTo>
                <a:lnTo>
                  <a:pt x="177099" y="302190"/>
                </a:lnTo>
                <a:cubicBezTo>
                  <a:pt x="177099" y="305858"/>
                  <a:pt x="180367" y="309120"/>
                  <a:pt x="184043" y="309120"/>
                </a:cubicBezTo>
                <a:lnTo>
                  <a:pt x="229382" y="309120"/>
                </a:lnTo>
                <a:cubicBezTo>
                  <a:pt x="233467" y="309120"/>
                  <a:pt x="236734" y="305858"/>
                  <a:pt x="236734" y="302190"/>
                </a:cubicBezTo>
                <a:lnTo>
                  <a:pt x="236734" y="258572"/>
                </a:lnTo>
                <a:cubicBezTo>
                  <a:pt x="236734" y="254495"/>
                  <a:pt x="233467" y="251642"/>
                  <a:pt x="229382" y="251642"/>
                </a:cubicBezTo>
                <a:close/>
                <a:moveTo>
                  <a:pt x="65713" y="251642"/>
                </a:moveTo>
                <a:cubicBezTo>
                  <a:pt x="61635" y="251642"/>
                  <a:pt x="58781" y="254495"/>
                  <a:pt x="58781" y="258572"/>
                </a:cubicBezTo>
                <a:lnTo>
                  <a:pt x="58781" y="260202"/>
                </a:lnTo>
                <a:cubicBezTo>
                  <a:pt x="60004" y="260202"/>
                  <a:pt x="61228" y="260202"/>
                  <a:pt x="62451" y="260202"/>
                </a:cubicBezTo>
                <a:cubicBezTo>
                  <a:pt x="62451" y="260610"/>
                  <a:pt x="63266" y="260610"/>
                  <a:pt x="63266" y="260610"/>
                </a:cubicBezTo>
                <a:cubicBezTo>
                  <a:pt x="64490" y="260610"/>
                  <a:pt x="65713" y="261018"/>
                  <a:pt x="66528" y="261018"/>
                </a:cubicBezTo>
                <a:cubicBezTo>
                  <a:pt x="66936" y="261425"/>
                  <a:pt x="67344" y="261425"/>
                  <a:pt x="67752" y="261425"/>
                </a:cubicBezTo>
                <a:cubicBezTo>
                  <a:pt x="68567" y="262241"/>
                  <a:pt x="69790" y="262241"/>
                  <a:pt x="70606" y="263056"/>
                </a:cubicBezTo>
                <a:cubicBezTo>
                  <a:pt x="71014" y="263056"/>
                  <a:pt x="71421" y="263056"/>
                  <a:pt x="71421" y="263464"/>
                </a:cubicBezTo>
                <a:cubicBezTo>
                  <a:pt x="72645" y="264279"/>
                  <a:pt x="73868" y="265094"/>
                  <a:pt x="75091" y="266317"/>
                </a:cubicBezTo>
                <a:lnTo>
                  <a:pt x="79169" y="270393"/>
                </a:lnTo>
                <a:lnTo>
                  <a:pt x="97517" y="251642"/>
                </a:lnTo>
                <a:close/>
                <a:moveTo>
                  <a:pt x="301819" y="236967"/>
                </a:moveTo>
                <a:lnTo>
                  <a:pt x="347581" y="236967"/>
                </a:lnTo>
                <a:cubicBezTo>
                  <a:pt x="359124" y="236967"/>
                  <a:pt x="368607" y="246750"/>
                  <a:pt x="368607" y="258572"/>
                </a:cubicBezTo>
                <a:lnTo>
                  <a:pt x="368607" y="302190"/>
                </a:lnTo>
                <a:cubicBezTo>
                  <a:pt x="368607" y="313604"/>
                  <a:pt x="359124" y="323387"/>
                  <a:pt x="347581" y="323387"/>
                </a:cubicBezTo>
                <a:lnTo>
                  <a:pt x="301819" y="323387"/>
                </a:lnTo>
                <a:cubicBezTo>
                  <a:pt x="289863" y="323387"/>
                  <a:pt x="280381" y="313604"/>
                  <a:pt x="280381" y="302190"/>
                </a:cubicBezTo>
                <a:lnTo>
                  <a:pt x="280381" y="258572"/>
                </a:lnTo>
                <a:cubicBezTo>
                  <a:pt x="280381" y="246750"/>
                  <a:pt x="289863" y="236967"/>
                  <a:pt x="301819" y="236967"/>
                </a:cubicBezTo>
                <a:close/>
                <a:moveTo>
                  <a:pt x="184043" y="236967"/>
                </a:moveTo>
                <a:lnTo>
                  <a:pt x="229382" y="236967"/>
                </a:lnTo>
                <a:cubicBezTo>
                  <a:pt x="241227" y="236967"/>
                  <a:pt x="251030" y="246750"/>
                  <a:pt x="251030" y="258572"/>
                </a:cubicBezTo>
                <a:lnTo>
                  <a:pt x="251030" y="302190"/>
                </a:lnTo>
                <a:cubicBezTo>
                  <a:pt x="251030" y="313604"/>
                  <a:pt x="241227" y="323387"/>
                  <a:pt x="229382" y="323387"/>
                </a:cubicBezTo>
                <a:lnTo>
                  <a:pt x="184043" y="323387"/>
                </a:lnTo>
                <a:cubicBezTo>
                  <a:pt x="172606" y="323387"/>
                  <a:pt x="162803" y="313604"/>
                  <a:pt x="162803" y="302190"/>
                </a:cubicBezTo>
                <a:lnTo>
                  <a:pt x="162803" y="258572"/>
                </a:lnTo>
                <a:cubicBezTo>
                  <a:pt x="162803" y="246750"/>
                  <a:pt x="172606" y="236967"/>
                  <a:pt x="184043" y="236967"/>
                </a:cubicBezTo>
                <a:close/>
                <a:moveTo>
                  <a:pt x="65713" y="236967"/>
                </a:moveTo>
                <a:lnTo>
                  <a:pt x="110973" y="236967"/>
                </a:lnTo>
                <a:cubicBezTo>
                  <a:pt x="117089" y="236967"/>
                  <a:pt x="123206" y="240228"/>
                  <a:pt x="127283" y="244712"/>
                </a:cubicBezTo>
                <a:cubicBezTo>
                  <a:pt x="128506" y="245935"/>
                  <a:pt x="129730" y="246750"/>
                  <a:pt x="130953" y="247565"/>
                </a:cubicBezTo>
                <a:cubicBezTo>
                  <a:pt x="134623" y="251642"/>
                  <a:pt x="137069" y="256941"/>
                  <a:pt x="137069" y="262241"/>
                </a:cubicBezTo>
                <a:cubicBezTo>
                  <a:pt x="137069" y="267132"/>
                  <a:pt x="135438" y="271616"/>
                  <a:pt x="132176" y="275693"/>
                </a:cubicBezTo>
                <a:lnTo>
                  <a:pt x="132176" y="302190"/>
                </a:lnTo>
                <a:cubicBezTo>
                  <a:pt x="132176" y="313604"/>
                  <a:pt x="122798" y="323387"/>
                  <a:pt x="110973" y="323387"/>
                </a:cubicBezTo>
                <a:lnTo>
                  <a:pt x="65713" y="323387"/>
                </a:lnTo>
                <a:cubicBezTo>
                  <a:pt x="53888" y="323387"/>
                  <a:pt x="44510" y="313604"/>
                  <a:pt x="44510" y="302190"/>
                </a:cubicBezTo>
                <a:lnTo>
                  <a:pt x="44510" y="294444"/>
                </a:lnTo>
                <a:cubicBezTo>
                  <a:pt x="37986" y="286292"/>
                  <a:pt x="37986" y="275693"/>
                  <a:pt x="44510" y="267948"/>
                </a:cubicBezTo>
                <a:lnTo>
                  <a:pt x="44510" y="258572"/>
                </a:lnTo>
                <a:cubicBezTo>
                  <a:pt x="44510" y="246750"/>
                  <a:pt x="53888" y="236967"/>
                  <a:pt x="65713" y="236967"/>
                </a:cubicBezTo>
                <a:close/>
                <a:moveTo>
                  <a:pt x="301819" y="147785"/>
                </a:moveTo>
                <a:cubicBezTo>
                  <a:pt x="297696" y="147785"/>
                  <a:pt x="294398" y="151062"/>
                  <a:pt x="294398" y="155157"/>
                </a:cubicBezTo>
                <a:lnTo>
                  <a:pt x="294398" y="198981"/>
                </a:lnTo>
                <a:cubicBezTo>
                  <a:pt x="294398" y="203076"/>
                  <a:pt x="297696" y="205943"/>
                  <a:pt x="301819" y="205943"/>
                </a:cubicBezTo>
                <a:lnTo>
                  <a:pt x="347581" y="205943"/>
                </a:lnTo>
                <a:cubicBezTo>
                  <a:pt x="351291" y="205943"/>
                  <a:pt x="354589" y="203076"/>
                  <a:pt x="354589" y="198981"/>
                </a:cubicBezTo>
                <a:lnTo>
                  <a:pt x="354589" y="155157"/>
                </a:lnTo>
                <a:cubicBezTo>
                  <a:pt x="354589" y="151062"/>
                  <a:pt x="351291" y="147785"/>
                  <a:pt x="347581" y="147785"/>
                </a:cubicBezTo>
                <a:close/>
                <a:moveTo>
                  <a:pt x="184043" y="147785"/>
                </a:moveTo>
                <a:cubicBezTo>
                  <a:pt x="180367" y="147785"/>
                  <a:pt x="177099" y="151062"/>
                  <a:pt x="177099" y="155157"/>
                </a:cubicBezTo>
                <a:lnTo>
                  <a:pt x="177099" y="198981"/>
                </a:lnTo>
                <a:cubicBezTo>
                  <a:pt x="177099" y="203076"/>
                  <a:pt x="180367" y="205943"/>
                  <a:pt x="184043" y="205943"/>
                </a:cubicBezTo>
                <a:lnTo>
                  <a:pt x="229382" y="205943"/>
                </a:lnTo>
                <a:cubicBezTo>
                  <a:pt x="233467" y="205943"/>
                  <a:pt x="236734" y="203076"/>
                  <a:pt x="236734" y="198981"/>
                </a:cubicBezTo>
                <a:lnTo>
                  <a:pt x="236734" y="155157"/>
                </a:lnTo>
                <a:cubicBezTo>
                  <a:pt x="236734" y="151062"/>
                  <a:pt x="233467" y="147785"/>
                  <a:pt x="229382" y="147785"/>
                </a:cubicBezTo>
                <a:close/>
                <a:moveTo>
                  <a:pt x="64752" y="147785"/>
                </a:moveTo>
                <a:cubicBezTo>
                  <a:pt x="60649" y="147785"/>
                  <a:pt x="57776" y="151062"/>
                  <a:pt x="57776" y="155157"/>
                </a:cubicBezTo>
                <a:lnTo>
                  <a:pt x="57776" y="198981"/>
                </a:lnTo>
                <a:cubicBezTo>
                  <a:pt x="57776" y="203076"/>
                  <a:pt x="60649" y="205943"/>
                  <a:pt x="64752" y="205943"/>
                </a:cubicBezTo>
                <a:lnTo>
                  <a:pt x="110301" y="205943"/>
                </a:lnTo>
                <a:cubicBezTo>
                  <a:pt x="113994" y="205943"/>
                  <a:pt x="117277" y="203076"/>
                  <a:pt x="117277" y="198981"/>
                </a:cubicBezTo>
                <a:lnTo>
                  <a:pt x="117277" y="155157"/>
                </a:lnTo>
                <a:cubicBezTo>
                  <a:pt x="117277" y="151062"/>
                  <a:pt x="113994" y="147785"/>
                  <a:pt x="110301" y="147785"/>
                </a:cubicBezTo>
                <a:close/>
                <a:moveTo>
                  <a:pt x="301819" y="133860"/>
                </a:moveTo>
                <a:lnTo>
                  <a:pt x="347581" y="133860"/>
                </a:lnTo>
                <a:cubicBezTo>
                  <a:pt x="359124" y="133860"/>
                  <a:pt x="368607" y="143280"/>
                  <a:pt x="368607" y="155157"/>
                </a:cubicBezTo>
                <a:lnTo>
                  <a:pt x="368607" y="198981"/>
                </a:lnTo>
                <a:cubicBezTo>
                  <a:pt x="368607" y="210858"/>
                  <a:pt x="359124" y="220278"/>
                  <a:pt x="347581" y="220278"/>
                </a:cubicBezTo>
                <a:lnTo>
                  <a:pt x="301819" y="220278"/>
                </a:lnTo>
                <a:cubicBezTo>
                  <a:pt x="289863" y="220278"/>
                  <a:pt x="280381" y="210858"/>
                  <a:pt x="280381" y="198981"/>
                </a:cubicBezTo>
                <a:lnTo>
                  <a:pt x="280381" y="155157"/>
                </a:lnTo>
                <a:cubicBezTo>
                  <a:pt x="280381" y="143280"/>
                  <a:pt x="289863" y="133860"/>
                  <a:pt x="301819" y="133860"/>
                </a:cubicBezTo>
                <a:close/>
                <a:moveTo>
                  <a:pt x="184043" y="133860"/>
                </a:moveTo>
                <a:lnTo>
                  <a:pt x="229382" y="133860"/>
                </a:lnTo>
                <a:cubicBezTo>
                  <a:pt x="241227" y="133860"/>
                  <a:pt x="251030" y="143280"/>
                  <a:pt x="251030" y="155157"/>
                </a:cubicBezTo>
                <a:lnTo>
                  <a:pt x="251030" y="198981"/>
                </a:lnTo>
                <a:cubicBezTo>
                  <a:pt x="251030" y="210858"/>
                  <a:pt x="241227" y="220278"/>
                  <a:pt x="229382" y="220278"/>
                </a:cubicBezTo>
                <a:lnTo>
                  <a:pt x="184043" y="220278"/>
                </a:lnTo>
                <a:cubicBezTo>
                  <a:pt x="172606" y="220278"/>
                  <a:pt x="162803" y="210858"/>
                  <a:pt x="162803" y="198981"/>
                </a:cubicBezTo>
                <a:lnTo>
                  <a:pt x="162803" y="155157"/>
                </a:lnTo>
                <a:cubicBezTo>
                  <a:pt x="162803" y="143280"/>
                  <a:pt x="172606" y="133860"/>
                  <a:pt x="184043" y="133860"/>
                </a:cubicBezTo>
                <a:close/>
                <a:moveTo>
                  <a:pt x="64752" y="133860"/>
                </a:moveTo>
                <a:lnTo>
                  <a:pt x="110301" y="133860"/>
                </a:lnTo>
                <a:cubicBezTo>
                  <a:pt x="122201" y="133860"/>
                  <a:pt x="131640" y="143280"/>
                  <a:pt x="131640" y="155157"/>
                </a:cubicBezTo>
                <a:lnTo>
                  <a:pt x="131640" y="198981"/>
                </a:lnTo>
                <a:cubicBezTo>
                  <a:pt x="131640" y="210858"/>
                  <a:pt x="122201" y="220278"/>
                  <a:pt x="110301" y="220278"/>
                </a:cubicBezTo>
                <a:lnTo>
                  <a:pt x="64752" y="220278"/>
                </a:lnTo>
                <a:cubicBezTo>
                  <a:pt x="52852" y="220278"/>
                  <a:pt x="43414" y="210858"/>
                  <a:pt x="43414" y="198981"/>
                </a:cubicBezTo>
                <a:lnTo>
                  <a:pt x="43414" y="155157"/>
                </a:lnTo>
                <a:cubicBezTo>
                  <a:pt x="43414" y="143280"/>
                  <a:pt x="52852" y="133860"/>
                  <a:pt x="64752" y="133860"/>
                </a:cubicBezTo>
                <a:close/>
                <a:moveTo>
                  <a:pt x="32811" y="43934"/>
                </a:moveTo>
                <a:cubicBezTo>
                  <a:pt x="22558" y="43934"/>
                  <a:pt x="14355" y="52146"/>
                  <a:pt x="14355" y="62001"/>
                </a:cubicBezTo>
                <a:lnTo>
                  <a:pt x="14355" y="103472"/>
                </a:lnTo>
                <a:lnTo>
                  <a:pt x="399887" y="103472"/>
                </a:lnTo>
                <a:lnTo>
                  <a:pt x="399887" y="62001"/>
                </a:lnTo>
                <a:cubicBezTo>
                  <a:pt x="399887" y="52146"/>
                  <a:pt x="391684" y="43934"/>
                  <a:pt x="381431" y="43934"/>
                </a:cubicBezTo>
                <a:lnTo>
                  <a:pt x="353951" y="43934"/>
                </a:lnTo>
                <a:lnTo>
                  <a:pt x="353951" y="52557"/>
                </a:lnTo>
                <a:cubicBezTo>
                  <a:pt x="353951" y="64054"/>
                  <a:pt x="344518" y="73498"/>
                  <a:pt x="333034" y="73498"/>
                </a:cubicBezTo>
                <a:cubicBezTo>
                  <a:pt x="321550" y="73498"/>
                  <a:pt x="312117" y="64054"/>
                  <a:pt x="312117" y="52557"/>
                </a:cubicBezTo>
                <a:lnTo>
                  <a:pt x="312117" y="43934"/>
                </a:lnTo>
                <a:lnTo>
                  <a:pt x="102125" y="43934"/>
                </a:lnTo>
                <a:lnTo>
                  <a:pt x="102125" y="52557"/>
                </a:lnTo>
                <a:cubicBezTo>
                  <a:pt x="102125" y="64054"/>
                  <a:pt x="93102" y="73498"/>
                  <a:pt x="81208" y="73498"/>
                </a:cubicBezTo>
                <a:cubicBezTo>
                  <a:pt x="69724" y="73498"/>
                  <a:pt x="60291" y="64054"/>
                  <a:pt x="60291" y="52557"/>
                </a:cubicBezTo>
                <a:lnTo>
                  <a:pt x="60291" y="43934"/>
                </a:lnTo>
                <a:close/>
                <a:moveTo>
                  <a:pt x="333034" y="13960"/>
                </a:moveTo>
                <a:cubicBezTo>
                  <a:pt x="329343" y="13960"/>
                  <a:pt x="326472" y="17245"/>
                  <a:pt x="326472" y="20941"/>
                </a:cubicBezTo>
                <a:lnTo>
                  <a:pt x="326472" y="52557"/>
                </a:lnTo>
                <a:cubicBezTo>
                  <a:pt x="326472" y="56252"/>
                  <a:pt x="329343" y="59127"/>
                  <a:pt x="333034" y="59127"/>
                </a:cubicBezTo>
                <a:cubicBezTo>
                  <a:pt x="336725" y="59127"/>
                  <a:pt x="339596" y="56252"/>
                  <a:pt x="339596" y="52557"/>
                </a:cubicBezTo>
                <a:lnTo>
                  <a:pt x="339596" y="20941"/>
                </a:lnTo>
                <a:cubicBezTo>
                  <a:pt x="339596" y="17245"/>
                  <a:pt x="336725" y="13960"/>
                  <a:pt x="333034" y="13960"/>
                </a:cubicBezTo>
                <a:close/>
                <a:moveTo>
                  <a:pt x="81208" y="13960"/>
                </a:moveTo>
                <a:cubicBezTo>
                  <a:pt x="77927" y="13960"/>
                  <a:pt x="74646" y="17245"/>
                  <a:pt x="74646" y="20941"/>
                </a:cubicBezTo>
                <a:lnTo>
                  <a:pt x="74646" y="52557"/>
                </a:lnTo>
                <a:cubicBezTo>
                  <a:pt x="74646" y="56252"/>
                  <a:pt x="77927" y="59127"/>
                  <a:pt x="81208" y="59127"/>
                </a:cubicBezTo>
                <a:cubicBezTo>
                  <a:pt x="84899" y="59127"/>
                  <a:pt x="88180" y="56252"/>
                  <a:pt x="88180" y="52557"/>
                </a:cubicBezTo>
                <a:lnTo>
                  <a:pt x="88180" y="20941"/>
                </a:lnTo>
                <a:cubicBezTo>
                  <a:pt x="88180" y="17245"/>
                  <a:pt x="84899" y="13960"/>
                  <a:pt x="81208" y="13960"/>
                </a:cubicBezTo>
                <a:close/>
                <a:moveTo>
                  <a:pt x="81208" y="0"/>
                </a:moveTo>
                <a:cubicBezTo>
                  <a:pt x="93102" y="0"/>
                  <a:pt x="102125" y="9444"/>
                  <a:pt x="102125" y="20941"/>
                </a:cubicBezTo>
                <a:lnTo>
                  <a:pt x="102125" y="29153"/>
                </a:lnTo>
                <a:lnTo>
                  <a:pt x="312117" y="29153"/>
                </a:lnTo>
                <a:lnTo>
                  <a:pt x="312117" y="20941"/>
                </a:lnTo>
                <a:cubicBezTo>
                  <a:pt x="312117" y="9444"/>
                  <a:pt x="321550" y="0"/>
                  <a:pt x="333034" y="0"/>
                </a:cubicBezTo>
                <a:cubicBezTo>
                  <a:pt x="344518" y="0"/>
                  <a:pt x="353951" y="9444"/>
                  <a:pt x="353951" y="20941"/>
                </a:cubicBezTo>
                <a:lnTo>
                  <a:pt x="353951" y="29153"/>
                </a:lnTo>
                <a:lnTo>
                  <a:pt x="381431" y="29153"/>
                </a:lnTo>
                <a:cubicBezTo>
                  <a:pt x="399477" y="29153"/>
                  <a:pt x="413832" y="44345"/>
                  <a:pt x="413832" y="62001"/>
                </a:cubicBezTo>
                <a:lnTo>
                  <a:pt x="413832" y="322734"/>
                </a:lnTo>
                <a:cubicBezTo>
                  <a:pt x="413832" y="327251"/>
                  <a:pt x="410961" y="330125"/>
                  <a:pt x="406859" y="330125"/>
                </a:cubicBezTo>
                <a:cubicBezTo>
                  <a:pt x="403168" y="330125"/>
                  <a:pt x="399887" y="327251"/>
                  <a:pt x="399887" y="322734"/>
                </a:cubicBezTo>
                <a:lnTo>
                  <a:pt x="399887" y="118253"/>
                </a:lnTo>
                <a:lnTo>
                  <a:pt x="14355" y="118253"/>
                </a:lnTo>
                <a:lnTo>
                  <a:pt x="14355" y="426206"/>
                </a:lnTo>
                <a:cubicBezTo>
                  <a:pt x="14355" y="436061"/>
                  <a:pt x="22558" y="444684"/>
                  <a:pt x="32811" y="444684"/>
                </a:cubicBezTo>
                <a:lnTo>
                  <a:pt x="319499" y="444684"/>
                </a:lnTo>
                <a:cubicBezTo>
                  <a:pt x="323601" y="444684"/>
                  <a:pt x="326472" y="447968"/>
                  <a:pt x="326472" y="451664"/>
                </a:cubicBezTo>
                <a:cubicBezTo>
                  <a:pt x="326472" y="455770"/>
                  <a:pt x="323601" y="459055"/>
                  <a:pt x="319499" y="459055"/>
                </a:cubicBezTo>
                <a:lnTo>
                  <a:pt x="32811" y="459055"/>
                </a:lnTo>
                <a:cubicBezTo>
                  <a:pt x="14765" y="459055"/>
                  <a:pt x="0" y="444273"/>
                  <a:pt x="0" y="426206"/>
                </a:cubicBezTo>
                <a:lnTo>
                  <a:pt x="0" y="62001"/>
                </a:lnTo>
                <a:cubicBezTo>
                  <a:pt x="0" y="44345"/>
                  <a:pt x="14765" y="29153"/>
                  <a:pt x="32811" y="29153"/>
                </a:cubicBezTo>
                <a:lnTo>
                  <a:pt x="60291" y="29153"/>
                </a:lnTo>
                <a:lnTo>
                  <a:pt x="60291" y="20941"/>
                </a:lnTo>
                <a:cubicBezTo>
                  <a:pt x="60291" y="9444"/>
                  <a:pt x="69724" y="0"/>
                  <a:pt x="81208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8" name="Freeform 23">
            <a:extLst>
              <a:ext uri="{FF2B5EF4-FFF2-40B4-BE49-F238E27FC236}">
                <a16:creationId xmlns:a16="http://schemas.microsoft.com/office/drawing/2014/main" id="{6E5F9FA4-1AC3-4582-8544-B5B9C7B00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4402" y="5983454"/>
            <a:ext cx="615548" cy="483740"/>
          </a:xfrm>
          <a:custGeom>
            <a:avLst/>
            <a:gdLst>
              <a:gd name="connsiteX0" fmla="*/ 256490 w 518355"/>
              <a:gd name="connsiteY0" fmla="*/ 150903 h 407360"/>
              <a:gd name="connsiteX1" fmla="*/ 261461 w 518355"/>
              <a:gd name="connsiteY1" fmla="*/ 150903 h 407360"/>
              <a:gd name="connsiteX2" fmla="*/ 263946 w 518355"/>
              <a:gd name="connsiteY2" fmla="*/ 153370 h 407360"/>
              <a:gd name="connsiteX3" fmla="*/ 263946 w 518355"/>
              <a:gd name="connsiteY3" fmla="*/ 165292 h 407360"/>
              <a:gd name="connsiteX4" fmla="*/ 270989 w 518355"/>
              <a:gd name="connsiteY4" fmla="*/ 166937 h 407360"/>
              <a:gd name="connsiteX5" fmla="*/ 277617 w 518355"/>
              <a:gd name="connsiteY5" fmla="*/ 172282 h 407360"/>
              <a:gd name="connsiteX6" fmla="*/ 282173 w 518355"/>
              <a:gd name="connsiteY6" fmla="*/ 180504 h 407360"/>
              <a:gd name="connsiteX7" fmla="*/ 283830 w 518355"/>
              <a:gd name="connsiteY7" fmla="*/ 189549 h 407360"/>
              <a:gd name="connsiteX8" fmla="*/ 281759 w 518355"/>
              <a:gd name="connsiteY8" fmla="*/ 192426 h 407360"/>
              <a:gd name="connsiteX9" fmla="*/ 274717 w 518355"/>
              <a:gd name="connsiteY9" fmla="*/ 194482 h 407360"/>
              <a:gd name="connsiteX10" fmla="*/ 271403 w 518355"/>
              <a:gd name="connsiteY10" fmla="*/ 192015 h 407360"/>
              <a:gd name="connsiteX11" fmla="*/ 270160 w 518355"/>
              <a:gd name="connsiteY11" fmla="*/ 185437 h 407360"/>
              <a:gd name="connsiteX12" fmla="*/ 266018 w 518355"/>
              <a:gd name="connsiteY12" fmla="*/ 178037 h 407360"/>
              <a:gd name="connsiteX13" fmla="*/ 257318 w 518355"/>
              <a:gd name="connsiteY13" fmla="*/ 175982 h 407360"/>
              <a:gd name="connsiteX14" fmla="*/ 249033 w 518355"/>
              <a:gd name="connsiteY14" fmla="*/ 179271 h 407360"/>
              <a:gd name="connsiteX15" fmla="*/ 245719 w 518355"/>
              <a:gd name="connsiteY15" fmla="*/ 187493 h 407360"/>
              <a:gd name="connsiteX16" fmla="*/ 247376 w 518355"/>
              <a:gd name="connsiteY16" fmla="*/ 195715 h 407360"/>
              <a:gd name="connsiteX17" fmla="*/ 252762 w 518355"/>
              <a:gd name="connsiteY17" fmla="*/ 201882 h 407360"/>
              <a:gd name="connsiteX18" fmla="*/ 270989 w 518355"/>
              <a:gd name="connsiteY18" fmla="*/ 217916 h 407360"/>
              <a:gd name="connsiteX19" fmla="*/ 278031 w 518355"/>
              <a:gd name="connsiteY19" fmla="*/ 225316 h 407360"/>
              <a:gd name="connsiteX20" fmla="*/ 283830 w 518355"/>
              <a:gd name="connsiteY20" fmla="*/ 235183 h 407360"/>
              <a:gd name="connsiteX21" fmla="*/ 285902 w 518355"/>
              <a:gd name="connsiteY21" fmla="*/ 247106 h 407360"/>
              <a:gd name="connsiteX22" fmla="*/ 283002 w 518355"/>
              <a:gd name="connsiteY22" fmla="*/ 259850 h 407360"/>
              <a:gd name="connsiteX23" fmla="*/ 275545 w 518355"/>
              <a:gd name="connsiteY23" fmla="*/ 268073 h 407360"/>
              <a:gd name="connsiteX24" fmla="*/ 263946 w 518355"/>
              <a:gd name="connsiteY24" fmla="*/ 272184 h 407360"/>
              <a:gd name="connsiteX25" fmla="*/ 263946 w 518355"/>
              <a:gd name="connsiteY25" fmla="*/ 281229 h 407360"/>
              <a:gd name="connsiteX26" fmla="*/ 263946 w 518355"/>
              <a:gd name="connsiteY26" fmla="*/ 283695 h 407360"/>
              <a:gd name="connsiteX27" fmla="*/ 261461 w 518355"/>
              <a:gd name="connsiteY27" fmla="*/ 286162 h 407360"/>
              <a:gd name="connsiteX28" fmla="*/ 256490 w 518355"/>
              <a:gd name="connsiteY28" fmla="*/ 286162 h 407360"/>
              <a:gd name="connsiteX29" fmla="*/ 254419 w 518355"/>
              <a:gd name="connsiteY29" fmla="*/ 283695 h 407360"/>
              <a:gd name="connsiteX30" fmla="*/ 254419 w 518355"/>
              <a:gd name="connsiteY30" fmla="*/ 271773 h 407360"/>
              <a:gd name="connsiteX31" fmla="*/ 239505 w 518355"/>
              <a:gd name="connsiteY31" fmla="*/ 263550 h 407360"/>
              <a:gd name="connsiteX32" fmla="*/ 232463 w 518355"/>
              <a:gd name="connsiteY32" fmla="*/ 244228 h 407360"/>
              <a:gd name="connsiteX33" fmla="*/ 234534 w 518355"/>
              <a:gd name="connsiteY33" fmla="*/ 241350 h 407360"/>
              <a:gd name="connsiteX34" fmla="*/ 241991 w 518355"/>
              <a:gd name="connsiteY34" fmla="*/ 238883 h 407360"/>
              <a:gd name="connsiteX35" fmla="*/ 245719 w 518355"/>
              <a:gd name="connsiteY35" fmla="*/ 241350 h 407360"/>
              <a:gd name="connsiteX36" fmla="*/ 247376 w 518355"/>
              <a:gd name="connsiteY36" fmla="*/ 249161 h 407360"/>
              <a:gd name="connsiteX37" fmla="*/ 251933 w 518355"/>
              <a:gd name="connsiteY37" fmla="*/ 257384 h 407360"/>
              <a:gd name="connsiteX38" fmla="*/ 260218 w 518355"/>
              <a:gd name="connsiteY38" fmla="*/ 260673 h 407360"/>
              <a:gd name="connsiteX39" fmla="*/ 269332 w 518355"/>
              <a:gd name="connsiteY39" fmla="*/ 257384 h 407360"/>
              <a:gd name="connsiteX40" fmla="*/ 271817 w 518355"/>
              <a:gd name="connsiteY40" fmla="*/ 248339 h 407360"/>
              <a:gd name="connsiteX41" fmla="*/ 268917 w 518355"/>
              <a:gd name="connsiteY41" fmla="*/ 236828 h 407360"/>
              <a:gd name="connsiteX42" fmla="*/ 260632 w 518355"/>
              <a:gd name="connsiteY42" fmla="*/ 228194 h 407360"/>
              <a:gd name="connsiteX43" fmla="*/ 242405 w 518355"/>
              <a:gd name="connsiteY43" fmla="*/ 212160 h 407360"/>
              <a:gd name="connsiteX44" fmla="*/ 237020 w 518355"/>
              <a:gd name="connsiteY44" fmla="*/ 205993 h 407360"/>
              <a:gd name="connsiteX45" fmla="*/ 233706 w 518355"/>
              <a:gd name="connsiteY45" fmla="*/ 198182 h 407360"/>
              <a:gd name="connsiteX46" fmla="*/ 232463 w 518355"/>
              <a:gd name="connsiteY46" fmla="*/ 188726 h 407360"/>
              <a:gd name="connsiteX47" fmla="*/ 239091 w 518355"/>
              <a:gd name="connsiteY47" fmla="*/ 171459 h 407360"/>
              <a:gd name="connsiteX48" fmla="*/ 254419 w 518355"/>
              <a:gd name="connsiteY48" fmla="*/ 164881 h 407360"/>
              <a:gd name="connsiteX49" fmla="*/ 254419 w 518355"/>
              <a:gd name="connsiteY49" fmla="*/ 153370 h 407360"/>
              <a:gd name="connsiteX50" fmla="*/ 256490 w 518355"/>
              <a:gd name="connsiteY50" fmla="*/ 150903 h 407360"/>
              <a:gd name="connsiteX51" fmla="*/ 259675 w 518355"/>
              <a:gd name="connsiteY51" fmla="*/ 121861 h 407360"/>
              <a:gd name="connsiteX52" fmla="*/ 165047 w 518355"/>
              <a:gd name="connsiteY52" fmla="*/ 216723 h 407360"/>
              <a:gd name="connsiteX53" fmla="*/ 259675 w 518355"/>
              <a:gd name="connsiteY53" fmla="*/ 311174 h 407360"/>
              <a:gd name="connsiteX54" fmla="*/ 354714 w 518355"/>
              <a:gd name="connsiteY54" fmla="*/ 216723 h 407360"/>
              <a:gd name="connsiteX55" fmla="*/ 259675 w 518355"/>
              <a:gd name="connsiteY55" fmla="*/ 121861 h 407360"/>
              <a:gd name="connsiteX56" fmla="*/ 259675 w 518355"/>
              <a:gd name="connsiteY56" fmla="*/ 107488 h 407360"/>
              <a:gd name="connsiteX57" fmla="*/ 369114 w 518355"/>
              <a:gd name="connsiteY57" fmla="*/ 216723 h 407360"/>
              <a:gd name="connsiteX58" fmla="*/ 259675 w 518355"/>
              <a:gd name="connsiteY58" fmla="*/ 325958 h 407360"/>
              <a:gd name="connsiteX59" fmla="*/ 150647 w 518355"/>
              <a:gd name="connsiteY59" fmla="*/ 216723 h 407360"/>
              <a:gd name="connsiteX60" fmla="*/ 259675 w 518355"/>
              <a:gd name="connsiteY60" fmla="*/ 107488 h 407360"/>
              <a:gd name="connsiteX61" fmla="*/ 258977 w 518355"/>
              <a:gd name="connsiteY61" fmla="*/ 79828 h 407360"/>
              <a:gd name="connsiteX62" fmla="*/ 121177 w 518355"/>
              <a:gd name="connsiteY62" fmla="*/ 217628 h 407360"/>
              <a:gd name="connsiteX63" fmla="*/ 258977 w 518355"/>
              <a:gd name="connsiteY63" fmla="*/ 355018 h 407360"/>
              <a:gd name="connsiteX64" fmla="*/ 396777 w 518355"/>
              <a:gd name="connsiteY64" fmla="*/ 217628 h 407360"/>
              <a:gd name="connsiteX65" fmla="*/ 258977 w 518355"/>
              <a:gd name="connsiteY65" fmla="*/ 79828 h 407360"/>
              <a:gd name="connsiteX66" fmla="*/ 258977 w 518355"/>
              <a:gd name="connsiteY66" fmla="*/ 65884 h 407360"/>
              <a:gd name="connsiteX67" fmla="*/ 410721 w 518355"/>
              <a:gd name="connsiteY67" fmla="*/ 217628 h 407360"/>
              <a:gd name="connsiteX68" fmla="*/ 258977 w 518355"/>
              <a:gd name="connsiteY68" fmla="*/ 369372 h 407360"/>
              <a:gd name="connsiteX69" fmla="*/ 107233 w 518355"/>
              <a:gd name="connsiteY69" fmla="*/ 217628 h 407360"/>
              <a:gd name="connsiteX70" fmla="*/ 258977 w 518355"/>
              <a:gd name="connsiteY70" fmla="*/ 65884 h 407360"/>
              <a:gd name="connsiteX71" fmla="*/ 80781 w 518355"/>
              <a:gd name="connsiteY71" fmla="*/ 51284 h 407360"/>
              <a:gd name="connsiteX72" fmla="*/ 77914 w 518355"/>
              <a:gd name="connsiteY72" fmla="*/ 52513 h 407360"/>
              <a:gd name="connsiteX73" fmla="*/ 46786 w 518355"/>
              <a:gd name="connsiteY73" fmla="*/ 340161 h 407360"/>
              <a:gd name="connsiteX74" fmla="*/ 49653 w 518355"/>
              <a:gd name="connsiteY74" fmla="*/ 345078 h 407360"/>
              <a:gd name="connsiteX75" fmla="*/ 29175 w 518355"/>
              <a:gd name="connsiteY75" fmla="*/ 365156 h 407360"/>
              <a:gd name="connsiteX76" fmla="*/ 113956 w 518355"/>
              <a:gd name="connsiteY76" fmla="*/ 391790 h 407360"/>
              <a:gd name="connsiteX77" fmla="*/ 87743 w 518355"/>
              <a:gd name="connsiteY77" fmla="*/ 306971 h 407360"/>
              <a:gd name="connsiteX78" fmla="*/ 73818 w 518355"/>
              <a:gd name="connsiteY78" fmla="*/ 320902 h 407360"/>
              <a:gd name="connsiteX79" fmla="*/ 69313 w 518355"/>
              <a:gd name="connsiteY79" fmla="*/ 311888 h 407360"/>
              <a:gd name="connsiteX80" fmla="*/ 102078 w 518355"/>
              <a:gd name="connsiteY80" fmla="*/ 75459 h 407360"/>
              <a:gd name="connsiteX81" fmla="*/ 101669 w 518355"/>
              <a:gd name="connsiteY81" fmla="*/ 70952 h 407360"/>
              <a:gd name="connsiteX82" fmla="*/ 83238 w 518355"/>
              <a:gd name="connsiteY82" fmla="*/ 52103 h 407360"/>
              <a:gd name="connsiteX83" fmla="*/ 80781 w 518355"/>
              <a:gd name="connsiteY83" fmla="*/ 51284 h 407360"/>
              <a:gd name="connsiteX84" fmla="*/ 80371 w 518355"/>
              <a:gd name="connsiteY84" fmla="*/ 36942 h 407360"/>
              <a:gd name="connsiteX85" fmla="*/ 93477 w 518355"/>
              <a:gd name="connsiteY85" fmla="*/ 42269 h 407360"/>
              <a:gd name="connsiteX86" fmla="*/ 111908 w 518355"/>
              <a:gd name="connsiteY86" fmla="*/ 60708 h 407360"/>
              <a:gd name="connsiteX87" fmla="*/ 112317 w 518355"/>
              <a:gd name="connsiteY87" fmla="*/ 85293 h 407360"/>
              <a:gd name="connsiteX88" fmla="*/ 77504 w 518355"/>
              <a:gd name="connsiteY88" fmla="*/ 296727 h 407360"/>
              <a:gd name="connsiteX89" fmla="*/ 79961 w 518355"/>
              <a:gd name="connsiteY89" fmla="*/ 294268 h 407360"/>
              <a:gd name="connsiteX90" fmla="*/ 91020 w 518355"/>
              <a:gd name="connsiteY90" fmla="*/ 290990 h 407360"/>
              <a:gd name="connsiteX91" fmla="*/ 99621 w 518355"/>
              <a:gd name="connsiteY91" fmla="*/ 297956 h 407360"/>
              <a:gd name="connsiteX92" fmla="*/ 99621 w 518355"/>
              <a:gd name="connsiteY92" fmla="*/ 298366 h 407360"/>
              <a:gd name="connsiteX93" fmla="*/ 128700 w 518355"/>
              <a:gd name="connsiteY93" fmla="*/ 391380 h 407360"/>
              <a:gd name="connsiteX94" fmla="*/ 126243 w 518355"/>
              <a:gd name="connsiteY94" fmla="*/ 404082 h 407360"/>
              <a:gd name="connsiteX95" fmla="*/ 117642 w 518355"/>
              <a:gd name="connsiteY95" fmla="*/ 407360 h 407360"/>
              <a:gd name="connsiteX96" fmla="*/ 113546 w 518355"/>
              <a:gd name="connsiteY96" fmla="*/ 406951 h 407360"/>
              <a:gd name="connsiteX97" fmla="*/ 20574 w 518355"/>
              <a:gd name="connsiteY97" fmla="*/ 377448 h 407360"/>
              <a:gd name="connsiteX98" fmla="*/ 13202 w 518355"/>
              <a:gd name="connsiteY98" fmla="*/ 368434 h 407360"/>
              <a:gd name="connsiteX99" fmla="*/ 16478 w 518355"/>
              <a:gd name="connsiteY99" fmla="*/ 357780 h 407360"/>
              <a:gd name="connsiteX100" fmla="*/ 31632 w 518355"/>
              <a:gd name="connsiteY100" fmla="*/ 342619 h 407360"/>
              <a:gd name="connsiteX101" fmla="*/ 67265 w 518355"/>
              <a:gd name="connsiteY101" fmla="*/ 43088 h 407360"/>
              <a:gd name="connsiteX102" fmla="*/ 80371 w 518355"/>
              <a:gd name="connsiteY102" fmla="*/ 36942 h 407360"/>
              <a:gd name="connsiteX103" fmla="*/ 380514 w 518355"/>
              <a:gd name="connsiteY103" fmla="*/ 15748 h 407360"/>
              <a:gd name="connsiteX104" fmla="*/ 406777 w 518355"/>
              <a:gd name="connsiteY104" fmla="*/ 100126 h 407360"/>
              <a:gd name="connsiteX105" fmla="*/ 423602 w 518355"/>
              <a:gd name="connsiteY105" fmla="*/ 83742 h 407360"/>
              <a:gd name="connsiteX106" fmla="*/ 428526 w 518355"/>
              <a:gd name="connsiteY106" fmla="*/ 90296 h 407360"/>
              <a:gd name="connsiteX107" fmla="*/ 416626 w 518355"/>
              <a:gd name="connsiteY107" fmla="*/ 359814 h 407360"/>
              <a:gd name="connsiteX108" fmla="*/ 416626 w 518355"/>
              <a:gd name="connsiteY108" fmla="*/ 364729 h 407360"/>
              <a:gd name="connsiteX109" fmla="*/ 435502 w 518355"/>
              <a:gd name="connsiteY109" fmla="*/ 383161 h 407360"/>
              <a:gd name="connsiteX110" fmla="*/ 437964 w 518355"/>
              <a:gd name="connsiteY110" fmla="*/ 384390 h 407360"/>
              <a:gd name="connsiteX111" fmla="*/ 440426 w 518355"/>
              <a:gd name="connsiteY111" fmla="*/ 383161 h 407360"/>
              <a:gd name="connsiteX112" fmla="*/ 451096 w 518355"/>
              <a:gd name="connsiteY112" fmla="*/ 65310 h 407360"/>
              <a:gd name="connsiteX113" fmla="*/ 446992 w 518355"/>
              <a:gd name="connsiteY113" fmla="*/ 59985 h 407360"/>
              <a:gd name="connsiteX114" fmla="*/ 465048 w 518355"/>
              <a:gd name="connsiteY114" fmla="*/ 41962 h 407360"/>
              <a:gd name="connsiteX115" fmla="*/ 380925 w 518355"/>
              <a:gd name="connsiteY115" fmla="*/ 1002 h 407360"/>
              <a:gd name="connsiteX116" fmla="*/ 474076 w 518355"/>
              <a:gd name="connsiteY116" fmla="*/ 30084 h 407360"/>
              <a:gd name="connsiteX117" fmla="*/ 481052 w 518355"/>
              <a:gd name="connsiteY117" fmla="*/ 38686 h 407360"/>
              <a:gd name="connsiteX118" fmla="*/ 478179 w 518355"/>
              <a:gd name="connsiteY118" fmla="*/ 49745 h 407360"/>
              <a:gd name="connsiteX119" fmla="*/ 466279 w 518355"/>
              <a:gd name="connsiteY119" fmla="*/ 61214 h 407360"/>
              <a:gd name="connsiteX120" fmla="*/ 451096 w 518355"/>
              <a:gd name="connsiteY120" fmla="*/ 392582 h 407360"/>
              <a:gd name="connsiteX121" fmla="*/ 438375 w 518355"/>
              <a:gd name="connsiteY121" fmla="*/ 398317 h 407360"/>
              <a:gd name="connsiteX122" fmla="*/ 437554 w 518355"/>
              <a:gd name="connsiteY122" fmla="*/ 398317 h 407360"/>
              <a:gd name="connsiteX123" fmla="*/ 425243 w 518355"/>
              <a:gd name="connsiteY123" fmla="*/ 392992 h 407360"/>
              <a:gd name="connsiteX124" fmla="*/ 406777 w 518355"/>
              <a:gd name="connsiteY124" fmla="*/ 374969 h 407360"/>
              <a:gd name="connsiteX125" fmla="*/ 405956 w 518355"/>
              <a:gd name="connsiteY125" fmla="*/ 349984 h 407360"/>
              <a:gd name="connsiteX126" fmla="*/ 421960 w 518355"/>
              <a:gd name="connsiteY126" fmla="*/ 105451 h 407360"/>
              <a:gd name="connsiteX127" fmla="*/ 414164 w 518355"/>
              <a:gd name="connsiteY127" fmla="*/ 113233 h 407360"/>
              <a:gd name="connsiteX128" fmla="*/ 403494 w 518355"/>
              <a:gd name="connsiteY128" fmla="*/ 116510 h 407360"/>
              <a:gd name="connsiteX129" fmla="*/ 394877 w 518355"/>
              <a:gd name="connsiteY129" fmla="*/ 109547 h 407360"/>
              <a:gd name="connsiteX130" fmla="*/ 394467 w 518355"/>
              <a:gd name="connsiteY130" fmla="*/ 108728 h 407360"/>
              <a:gd name="connsiteX131" fmla="*/ 365331 w 518355"/>
              <a:gd name="connsiteY131" fmla="*/ 16157 h 407360"/>
              <a:gd name="connsiteX132" fmla="*/ 368204 w 518355"/>
              <a:gd name="connsiteY132" fmla="*/ 3460 h 407360"/>
              <a:gd name="connsiteX133" fmla="*/ 380925 w 518355"/>
              <a:gd name="connsiteY133" fmla="*/ 1002 h 40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518355" h="407360">
                <a:moveTo>
                  <a:pt x="256490" y="150903"/>
                </a:moveTo>
                <a:lnTo>
                  <a:pt x="261461" y="150903"/>
                </a:lnTo>
                <a:cubicBezTo>
                  <a:pt x="262704" y="150903"/>
                  <a:pt x="263946" y="152137"/>
                  <a:pt x="263946" y="153370"/>
                </a:cubicBezTo>
                <a:lnTo>
                  <a:pt x="263946" y="165292"/>
                </a:lnTo>
                <a:cubicBezTo>
                  <a:pt x="266432" y="165292"/>
                  <a:pt x="268503" y="166115"/>
                  <a:pt x="270989" y="166937"/>
                </a:cubicBezTo>
                <a:cubicBezTo>
                  <a:pt x="273474" y="168170"/>
                  <a:pt x="275545" y="169815"/>
                  <a:pt x="277617" y="172282"/>
                </a:cubicBezTo>
                <a:cubicBezTo>
                  <a:pt x="279274" y="174337"/>
                  <a:pt x="280931" y="177215"/>
                  <a:pt x="282173" y="180504"/>
                </a:cubicBezTo>
                <a:cubicBezTo>
                  <a:pt x="283002" y="182971"/>
                  <a:pt x="283830" y="186260"/>
                  <a:pt x="283830" y="189549"/>
                </a:cubicBezTo>
                <a:cubicBezTo>
                  <a:pt x="284245" y="190782"/>
                  <a:pt x="283416" y="192015"/>
                  <a:pt x="281759" y="192426"/>
                </a:cubicBezTo>
                <a:lnTo>
                  <a:pt x="274717" y="194482"/>
                </a:lnTo>
                <a:cubicBezTo>
                  <a:pt x="273060" y="194893"/>
                  <a:pt x="271403" y="193660"/>
                  <a:pt x="271403" y="192015"/>
                </a:cubicBezTo>
                <a:cubicBezTo>
                  <a:pt x="270989" y="189549"/>
                  <a:pt x="270574" y="187493"/>
                  <a:pt x="270160" y="185437"/>
                </a:cubicBezTo>
                <a:cubicBezTo>
                  <a:pt x="269332" y="182560"/>
                  <a:pt x="268089" y="180093"/>
                  <a:pt x="266018" y="178037"/>
                </a:cubicBezTo>
                <a:cubicBezTo>
                  <a:pt x="263946" y="176393"/>
                  <a:pt x="261461" y="175571"/>
                  <a:pt x="257318" y="175982"/>
                </a:cubicBezTo>
                <a:cubicBezTo>
                  <a:pt x="253590" y="176393"/>
                  <a:pt x="250690" y="177215"/>
                  <a:pt x="249033" y="179271"/>
                </a:cubicBezTo>
                <a:cubicBezTo>
                  <a:pt x="246548" y="180915"/>
                  <a:pt x="245719" y="183793"/>
                  <a:pt x="245719" y="187493"/>
                </a:cubicBezTo>
                <a:cubicBezTo>
                  <a:pt x="245719" y="190782"/>
                  <a:pt x="246134" y="193249"/>
                  <a:pt x="247376" y="195715"/>
                </a:cubicBezTo>
                <a:cubicBezTo>
                  <a:pt x="248205" y="197360"/>
                  <a:pt x="250276" y="199416"/>
                  <a:pt x="252762" y="201882"/>
                </a:cubicBezTo>
                <a:lnTo>
                  <a:pt x="270989" y="217916"/>
                </a:lnTo>
                <a:cubicBezTo>
                  <a:pt x="273060" y="219972"/>
                  <a:pt x="275545" y="222438"/>
                  <a:pt x="278031" y="225316"/>
                </a:cubicBezTo>
                <a:cubicBezTo>
                  <a:pt x="280102" y="228194"/>
                  <a:pt x="282588" y="231894"/>
                  <a:pt x="283830" y="235183"/>
                </a:cubicBezTo>
                <a:cubicBezTo>
                  <a:pt x="285073" y="238883"/>
                  <a:pt x="285902" y="242583"/>
                  <a:pt x="285902" y="247106"/>
                </a:cubicBezTo>
                <a:cubicBezTo>
                  <a:pt x="285902" y="252039"/>
                  <a:pt x="285073" y="256150"/>
                  <a:pt x="283002" y="259850"/>
                </a:cubicBezTo>
                <a:cubicBezTo>
                  <a:pt x="281345" y="263550"/>
                  <a:pt x="278859" y="266017"/>
                  <a:pt x="275545" y="268073"/>
                </a:cubicBezTo>
                <a:cubicBezTo>
                  <a:pt x="272231" y="270540"/>
                  <a:pt x="268503" y="271773"/>
                  <a:pt x="263946" y="272184"/>
                </a:cubicBezTo>
                <a:lnTo>
                  <a:pt x="263946" y="281229"/>
                </a:lnTo>
                <a:lnTo>
                  <a:pt x="263946" y="283695"/>
                </a:lnTo>
                <a:cubicBezTo>
                  <a:pt x="263946" y="284929"/>
                  <a:pt x="262704" y="286162"/>
                  <a:pt x="261461" y="286162"/>
                </a:cubicBezTo>
                <a:lnTo>
                  <a:pt x="256490" y="286162"/>
                </a:lnTo>
                <a:cubicBezTo>
                  <a:pt x="255661" y="286162"/>
                  <a:pt x="254419" y="284929"/>
                  <a:pt x="254419" y="283695"/>
                </a:cubicBezTo>
                <a:lnTo>
                  <a:pt x="254419" y="271773"/>
                </a:lnTo>
                <a:cubicBezTo>
                  <a:pt x="247791" y="270540"/>
                  <a:pt x="242819" y="268073"/>
                  <a:pt x="239505" y="263550"/>
                </a:cubicBezTo>
                <a:cubicBezTo>
                  <a:pt x="235363" y="258617"/>
                  <a:pt x="232877" y="251628"/>
                  <a:pt x="232463" y="244228"/>
                </a:cubicBezTo>
                <a:cubicBezTo>
                  <a:pt x="232049" y="242583"/>
                  <a:pt x="232877" y="241350"/>
                  <a:pt x="234534" y="241350"/>
                </a:cubicBezTo>
                <a:lnTo>
                  <a:pt x="241991" y="238883"/>
                </a:lnTo>
                <a:cubicBezTo>
                  <a:pt x="243648" y="238472"/>
                  <a:pt x="245305" y="239705"/>
                  <a:pt x="245719" y="241350"/>
                </a:cubicBezTo>
                <a:cubicBezTo>
                  <a:pt x="246134" y="243817"/>
                  <a:pt x="246548" y="246694"/>
                  <a:pt x="247376" y="249161"/>
                </a:cubicBezTo>
                <a:cubicBezTo>
                  <a:pt x="248205" y="252450"/>
                  <a:pt x="249448" y="255328"/>
                  <a:pt x="251933" y="257384"/>
                </a:cubicBezTo>
                <a:cubicBezTo>
                  <a:pt x="253590" y="259850"/>
                  <a:pt x="256490" y="260673"/>
                  <a:pt x="260218" y="260673"/>
                </a:cubicBezTo>
                <a:cubicBezTo>
                  <a:pt x="264361" y="260673"/>
                  <a:pt x="267260" y="259850"/>
                  <a:pt x="269332" y="257384"/>
                </a:cubicBezTo>
                <a:cubicBezTo>
                  <a:pt x="270989" y="255328"/>
                  <a:pt x="271817" y="252450"/>
                  <a:pt x="271817" y="248339"/>
                </a:cubicBezTo>
                <a:cubicBezTo>
                  <a:pt x="271817" y="243406"/>
                  <a:pt x="270989" y="240117"/>
                  <a:pt x="268917" y="236828"/>
                </a:cubicBezTo>
                <a:cubicBezTo>
                  <a:pt x="266846" y="233950"/>
                  <a:pt x="263946" y="230661"/>
                  <a:pt x="260632" y="228194"/>
                </a:cubicBezTo>
                <a:lnTo>
                  <a:pt x="242405" y="212160"/>
                </a:lnTo>
                <a:cubicBezTo>
                  <a:pt x="240334" y="210516"/>
                  <a:pt x="238677" y="208049"/>
                  <a:pt x="237020" y="205993"/>
                </a:cubicBezTo>
                <a:cubicBezTo>
                  <a:pt x="235363" y="203527"/>
                  <a:pt x="234120" y="201060"/>
                  <a:pt x="233706" y="198182"/>
                </a:cubicBezTo>
                <a:cubicBezTo>
                  <a:pt x="232877" y="195715"/>
                  <a:pt x="232463" y="192426"/>
                  <a:pt x="232463" y="188726"/>
                </a:cubicBezTo>
                <a:cubicBezTo>
                  <a:pt x="232463" y="181326"/>
                  <a:pt x="234534" y="175571"/>
                  <a:pt x="239091" y="171459"/>
                </a:cubicBezTo>
                <a:cubicBezTo>
                  <a:pt x="242405" y="167348"/>
                  <a:pt x="247791" y="165292"/>
                  <a:pt x="254419" y="164881"/>
                </a:cubicBezTo>
                <a:lnTo>
                  <a:pt x="254419" y="153370"/>
                </a:lnTo>
                <a:cubicBezTo>
                  <a:pt x="254419" y="152137"/>
                  <a:pt x="255661" y="150903"/>
                  <a:pt x="256490" y="150903"/>
                </a:cubicBezTo>
                <a:close/>
                <a:moveTo>
                  <a:pt x="259675" y="121861"/>
                </a:moveTo>
                <a:cubicBezTo>
                  <a:pt x="207424" y="121861"/>
                  <a:pt x="165047" y="164159"/>
                  <a:pt x="165047" y="216723"/>
                </a:cubicBezTo>
                <a:cubicBezTo>
                  <a:pt x="165047" y="268876"/>
                  <a:pt x="207424" y="311174"/>
                  <a:pt x="259675" y="311174"/>
                </a:cubicBezTo>
                <a:cubicBezTo>
                  <a:pt x="312337" y="311174"/>
                  <a:pt x="354714" y="268876"/>
                  <a:pt x="354714" y="216723"/>
                </a:cubicBezTo>
                <a:cubicBezTo>
                  <a:pt x="354714" y="164159"/>
                  <a:pt x="312337" y="121861"/>
                  <a:pt x="259675" y="121861"/>
                </a:cubicBezTo>
                <a:close/>
                <a:moveTo>
                  <a:pt x="259675" y="107488"/>
                </a:moveTo>
                <a:cubicBezTo>
                  <a:pt x="320154" y="107488"/>
                  <a:pt x="369114" y="156356"/>
                  <a:pt x="369114" y="216723"/>
                </a:cubicBezTo>
                <a:cubicBezTo>
                  <a:pt x="369114" y="276679"/>
                  <a:pt x="320154" y="325958"/>
                  <a:pt x="259675" y="325958"/>
                </a:cubicBezTo>
                <a:cubicBezTo>
                  <a:pt x="199606" y="325958"/>
                  <a:pt x="150647" y="276679"/>
                  <a:pt x="150647" y="216723"/>
                </a:cubicBezTo>
                <a:cubicBezTo>
                  <a:pt x="150647" y="156356"/>
                  <a:pt x="199606" y="107488"/>
                  <a:pt x="259675" y="107488"/>
                </a:cubicBezTo>
                <a:close/>
                <a:moveTo>
                  <a:pt x="258977" y="79828"/>
                </a:moveTo>
                <a:cubicBezTo>
                  <a:pt x="183105" y="79828"/>
                  <a:pt x="121177" y="141756"/>
                  <a:pt x="121177" y="217628"/>
                </a:cubicBezTo>
                <a:cubicBezTo>
                  <a:pt x="121177" y="293500"/>
                  <a:pt x="183105" y="355018"/>
                  <a:pt x="258977" y="355018"/>
                </a:cubicBezTo>
                <a:cubicBezTo>
                  <a:pt x="334849" y="355018"/>
                  <a:pt x="396777" y="293500"/>
                  <a:pt x="396777" y="217628"/>
                </a:cubicBezTo>
                <a:cubicBezTo>
                  <a:pt x="396777" y="141756"/>
                  <a:pt x="334849" y="79828"/>
                  <a:pt x="258977" y="79828"/>
                </a:cubicBezTo>
                <a:close/>
                <a:moveTo>
                  <a:pt x="258977" y="65884"/>
                </a:moveTo>
                <a:cubicBezTo>
                  <a:pt x="343051" y="65884"/>
                  <a:pt x="410721" y="133964"/>
                  <a:pt x="410721" y="217628"/>
                </a:cubicBezTo>
                <a:cubicBezTo>
                  <a:pt x="410721" y="301292"/>
                  <a:pt x="343051" y="369372"/>
                  <a:pt x="258977" y="369372"/>
                </a:cubicBezTo>
                <a:cubicBezTo>
                  <a:pt x="175313" y="369372"/>
                  <a:pt x="107233" y="301292"/>
                  <a:pt x="107233" y="217628"/>
                </a:cubicBezTo>
                <a:cubicBezTo>
                  <a:pt x="107233" y="133964"/>
                  <a:pt x="175313" y="65884"/>
                  <a:pt x="258977" y="65884"/>
                </a:cubicBezTo>
                <a:close/>
                <a:moveTo>
                  <a:pt x="80781" y="51284"/>
                </a:moveTo>
                <a:cubicBezTo>
                  <a:pt x="79961" y="51284"/>
                  <a:pt x="78733" y="51284"/>
                  <a:pt x="77914" y="52513"/>
                </a:cubicBezTo>
                <a:cubicBezTo>
                  <a:pt x="6649" y="130366"/>
                  <a:pt x="-6458" y="249195"/>
                  <a:pt x="46786" y="340161"/>
                </a:cubicBezTo>
                <a:lnTo>
                  <a:pt x="49653" y="345078"/>
                </a:lnTo>
                <a:lnTo>
                  <a:pt x="29175" y="365156"/>
                </a:lnTo>
                <a:lnTo>
                  <a:pt x="113956" y="391790"/>
                </a:lnTo>
                <a:lnTo>
                  <a:pt x="87743" y="306971"/>
                </a:lnTo>
                <a:lnTo>
                  <a:pt x="73818" y="320902"/>
                </a:lnTo>
                <a:lnTo>
                  <a:pt x="69313" y="311888"/>
                </a:lnTo>
                <a:cubicBezTo>
                  <a:pt x="30813" y="234444"/>
                  <a:pt x="43919" y="139791"/>
                  <a:pt x="102078" y="75459"/>
                </a:cubicBezTo>
                <a:cubicBezTo>
                  <a:pt x="103307" y="74230"/>
                  <a:pt x="103307" y="72181"/>
                  <a:pt x="101669" y="70952"/>
                </a:cubicBezTo>
                <a:lnTo>
                  <a:pt x="83238" y="52103"/>
                </a:lnTo>
                <a:cubicBezTo>
                  <a:pt x="82419" y="51284"/>
                  <a:pt x="81190" y="51284"/>
                  <a:pt x="80781" y="51284"/>
                </a:cubicBezTo>
                <a:close/>
                <a:moveTo>
                  <a:pt x="80371" y="36942"/>
                </a:moveTo>
                <a:cubicBezTo>
                  <a:pt x="85286" y="36942"/>
                  <a:pt x="89791" y="38991"/>
                  <a:pt x="93477" y="42269"/>
                </a:cubicBezTo>
                <a:lnTo>
                  <a:pt x="111908" y="60708"/>
                </a:lnTo>
                <a:cubicBezTo>
                  <a:pt x="118461" y="67264"/>
                  <a:pt x="118870" y="78327"/>
                  <a:pt x="112317" y="85293"/>
                </a:cubicBezTo>
                <a:cubicBezTo>
                  <a:pt x="60712" y="142249"/>
                  <a:pt x="47196" y="226249"/>
                  <a:pt x="77504" y="296727"/>
                </a:cubicBezTo>
                <a:lnTo>
                  <a:pt x="79961" y="294268"/>
                </a:lnTo>
                <a:cubicBezTo>
                  <a:pt x="82828" y="291400"/>
                  <a:pt x="86924" y="290171"/>
                  <a:pt x="91020" y="290990"/>
                </a:cubicBezTo>
                <a:cubicBezTo>
                  <a:pt x="95115" y="291810"/>
                  <a:pt x="97982" y="294268"/>
                  <a:pt x="99621" y="297956"/>
                </a:cubicBezTo>
                <a:lnTo>
                  <a:pt x="99621" y="298366"/>
                </a:lnTo>
                <a:lnTo>
                  <a:pt x="128700" y="391380"/>
                </a:lnTo>
                <a:cubicBezTo>
                  <a:pt x="130338" y="395478"/>
                  <a:pt x="129519" y="400804"/>
                  <a:pt x="126243" y="404082"/>
                </a:cubicBezTo>
                <a:cubicBezTo>
                  <a:pt x="123785" y="406131"/>
                  <a:pt x="120509" y="407360"/>
                  <a:pt x="117642" y="407360"/>
                </a:cubicBezTo>
                <a:cubicBezTo>
                  <a:pt x="116003" y="407360"/>
                  <a:pt x="114775" y="406951"/>
                  <a:pt x="113546" y="406951"/>
                </a:cubicBezTo>
                <a:lnTo>
                  <a:pt x="20574" y="377448"/>
                </a:lnTo>
                <a:cubicBezTo>
                  <a:pt x="16888" y="375809"/>
                  <a:pt x="14021" y="372531"/>
                  <a:pt x="13202" y="368434"/>
                </a:cubicBezTo>
                <a:cubicBezTo>
                  <a:pt x="12383" y="364746"/>
                  <a:pt x="13611" y="361058"/>
                  <a:pt x="16478" y="357780"/>
                </a:cubicBezTo>
                <a:lnTo>
                  <a:pt x="31632" y="342619"/>
                </a:lnTo>
                <a:cubicBezTo>
                  <a:pt x="-21202" y="246737"/>
                  <a:pt x="-6867" y="124220"/>
                  <a:pt x="67265" y="43088"/>
                </a:cubicBezTo>
                <a:cubicBezTo>
                  <a:pt x="70541" y="39401"/>
                  <a:pt x="75456" y="36942"/>
                  <a:pt x="80371" y="36942"/>
                </a:cubicBezTo>
                <a:close/>
                <a:moveTo>
                  <a:pt x="380514" y="15748"/>
                </a:moveTo>
                <a:lnTo>
                  <a:pt x="406777" y="100126"/>
                </a:lnTo>
                <a:lnTo>
                  <a:pt x="423602" y="83742"/>
                </a:lnTo>
                <a:lnTo>
                  <a:pt x="428526" y="90296"/>
                </a:lnTo>
                <a:cubicBezTo>
                  <a:pt x="490080" y="171397"/>
                  <a:pt x="484745" y="284447"/>
                  <a:pt x="416626" y="359814"/>
                </a:cubicBezTo>
                <a:cubicBezTo>
                  <a:pt x="415395" y="361452"/>
                  <a:pt x="415395" y="363091"/>
                  <a:pt x="416626" y="364729"/>
                </a:cubicBezTo>
                <a:lnTo>
                  <a:pt x="435502" y="383161"/>
                </a:lnTo>
                <a:cubicBezTo>
                  <a:pt x="436323" y="383981"/>
                  <a:pt x="437554" y="384390"/>
                  <a:pt x="437964" y="384390"/>
                </a:cubicBezTo>
                <a:cubicBezTo>
                  <a:pt x="438785" y="384390"/>
                  <a:pt x="439606" y="383981"/>
                  <a:pt x="440426" y="383161"/>
                </a:cubicBezTo>
                <a:cubicBezTo>
                  <a:pt x="521267" y="294687"/>
                  <a:pt x="525781" y="158290"/>
                  <a:pt x="451096" y="65310"/>
                </a:cubicBezTo>
                <a:lnTo>
                  <a:pt x="446992" y="59985"/>
                </a:lnTo>
                <a:lnTo>
                  <a:pt x="465048" y="41962"/>
                </a:lnTo>
                <a:close/>
                <a:moveTo>
                  <a:pt x="380925" y="1002"/>
                </a:moveTo>
                <a:lnTo>
                  <a:pt x="474076" y="30084"/>
                </a:lnTo>
                <a:cubicBezTo>
                  <a:pt x="477769" y="31313"/>
                  <a:pt x="480641" y="34999"/>
                  <a:pt x="481052" y="38686"/>
                </a:cubicBezTo>
                <a:cubicBezTo>
                  <a:pt x="482283" y="42782"/>
                  <a:pt x="481052" y="46468"/>
                  <a:pt x="478179" y="49745"/>
                </a:cubicBezTo>
                <a:lnTo>
                  <a:pt x="466279" y="61214"/>
                </a:lnTo>
                <a:cubicBezTo>
                  <a:pt x="540964" y="159518"/>
                  <a:pt x="534808" y="300831"/>
                  <a:pt x="451096" y="392582"/>
                </a:cubicBezTo>
                <a:cubicBezTo>
                  <a:pt x="447813" y="396269"/>
                  <a:pt x="443299" y="398317"/>
                  <a:pt x="438375" y="398317"/>
                </a:cubicBezTo>
                <a:cubicBezTo>
                  <a:pt x="437964" y="398317"/>
                  <a:pt x="437964" y="398317"/>
                  <a:pt x="437554" y="398317"/>
                </a:cubicBezTo>
                <a:cubicBezTo>
                  <a:pt x="433040" y="398317"/>
                  <a:pt x="428526" y="396269"/>
                  <a:pt x="425243" y="392992"/>
                </a:cubicBezTo>
                <a:lnTo>
                  <a:pt x="406777" y="374969"/>
                </a:lnTo>
                <a:cubicBezTo>
                  <a:pt x="399801" y="368006"/>
                  <a:pt x="399801" y="357356"/>
                  <a:pt x="405956" y="349984"/>
                </a:cubicBezTo>
                <a:cubicBezTo>
                  <a:pt x="467920" y="281990"/>
                  <a:pt x="474076" y="180408"/>
                  <a:pt x="421960" y="105451"/>
                </a:cubicBezTo>
                <a:lnTo>
                  <a:pt x="414164" y="113233"/>
                </a:lnTo>
                <a:cubicBezTo>
                  <a:pt x="411291" y="116101"/>
                  <a:pt x="407188" y="117329"/>
                  <a:pt x="403494" y="116510"/>
                </a:cubicBezTo>
                <a:cubicBezTo>
                  <a:pt x="399391" y="115691"/>
                  <a:pt x="396518" y="112824"/>
                  <a:pt x="394877" y="109547"/>
                </a:cubicBezTo>
                <a:lnTo>
                  <a:pt x="394467" y="108728"/>
                </a:lnTo>
                <a:lnTo>
                  <a:pt x="365331" y="16157"/>
                </a:lnTo>
                <a:cubicBezTo>
                  <a:pt x="364100" y="11652"/>
                  <a:pt x="364921" y="6737"/>
                  <a:pt x="368204" y="3460"/>
                </a:cubicBezTo>
                <a:cubicBezTo>
                  <a:pt x="371487" y="183"/>
                  <a:pt x="376411" y="-1046"/>
                  <a:pt x="380925" y="1002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22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le 1">
            <a:extLst>
              <a:ext uri="{FF2B5EF4-FFF2-40B4-BE49-F238E27FC236}">
                <a16:creationId xmlns:a16="http://schemas.microsoft.com/office/drawing/2014/main" id="{3A1A117B-9DA3-48C8-65C9-87CF2CCA132C}"/>
              </a:ext>
            </a:extLst>
          </p:cNvPr>
          <p:cNvSpPr txBox="1">
            <a:spLocks/>
          </p:cNvSpPr>
          <p:nvPr/>
        </p:nvSpPr>
        <p:spPr>
          <a:xfrm>
            <a:off x="510988" y="563020"/>
            <a:ext cx="8954745" cy="7816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800" b="1" spc="100">
                <a:solidFill>
                  <a:srgbClr val="04A664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EFFECTIVE VEHICLE LIFECYCLE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6270A3E-BF33-41F3-BA5A-7E33F359CFF8}"/>
              </a:ext>
            </a:extLst>
          </p:cNvPr>
          <p:cNvGrpSpPr/>
          <p:nvPr/>
        </p:nvGrpSpPr>
        <p:grpSpPr>
          <a:xfrm>
            <a:off x="516777" y="6064622"/>
            <a:ext cx="11168718" cy="556320"/>
            <a:chOff x="516777" y="5970494"/>
            <a:chExt cx="11168718" cy="556319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AD8134B-BA35-C49E-D046-761C50AA67BC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 algn="ctr">
                <a:spcAft>
                  <a:spcPts val="1600"/>
                </a:spcAft>
              </a:pPr>
              <a:r>
                <a:rPr lang="fr-FR" sz="7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fld id="{B3C9AFD6-CD29-D04D-86FF-9CB8B2D6BEC3}" type="datetimeyyyy">
                <a:rPr lang="en-US" sz="700" smtClean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5</a:t>
              </a:fld>
              <a:r>
                <a:rPr lang="fr-FR" sz="7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prise Fleet Management, Inc.</a:t>
              </a:r>
              <a:endParaRPr lang="en-US" sz="1100" b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AC3471D-FF21-164F-9DBF-E37C1DF0ACE3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>
                <a:spcAft>
                  <a:spcPts val="1600"/>
                </a:spcAft>
              </a:pPr>
              <a:r>
                <a:rPr lang="fr-FR" sz="700" spc="10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FIDENTIAL AND PROPRIETARY</a:t>
              </a:r>
              <a:endParaRPr lang="en-US" sz="1100" spc="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86A9AAC3-C9A5-87CB-3E80-CAEF9D279627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597049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Up Arrow 78">
            <a:extLst>
              <a:ext uri="{FF2B5EF4-FFF2-40B4-BE49-F238E27FC236}">
                <a16:creationId xmlns:a16="http://schemas.microsoft.com/office/drawing/2014/main" id="{366ECAE5-C21F-80B8-84A4-F630A27F2F10}"/>
              </a:ext>
            </a:extLst>
          </p:cNvPr>
          <p:cNvSpPr/>
          <p:nvPr/>
        </p:nvSpPr>
        <p:spPr>
          <a:xfrm>
            <a:off x="1425538" y="2163198"/>
            <a:ext cx="542578" cy="3253788"/>
          </a:xfrm>
          <a:prstGeom prst="upArrow">
            <a:avLst>
              <a:gd name="adj1" fmla="val 50000"/>
              <a:gd name="adj2" fmla="val 65387"/>
            </a:avLst>
          </a:prstGeom>
          <a:solidFill>
            <a:srgbClr val="BDB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AC366F8C-C915-00F4-9101-4CF46AC120D3}"/>
              </a:ext>
            </a:extLst>
          </p:cNvPr>
          <p:cNvSpPr txBox="1">
            <a:spLocks/>
          </p:cNvSpPr>
          <p:nvPr/>
        </p:nvSpPr>
        <p:spPr>
          <a:xfrm rot="16200000">
            <a:off x="482011" y="3239647"/>
            <a:ext cx="1011220" cy="4243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b="1" spc="100">
                <a:solidFill>
                  <a:srgbClr val="005558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COST</a:t>
            </a: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7D7E5247-A775-21E0-9270-E254F5B57908}"/>
              </a:ext>
            </a:extLst>
          </p:cNvPr>
          <p:cNvSpPr txBox="1">
            <a:spLocks/>
          </p:cNvSpPr>
          <p:nvPr/>
        </p:nvSpPr>
        <p:spPr>
          <a:xfrm>
            <a:off x="538031" y="1372006"/>
            <a:ext cx="6042214" cy="37917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Determining the right time to replace vehicles</a:t>
            </a:r>
          </a:p>
        </p:txBody>
      </p:sp>
      <p:sp>
        <p:nvSpPr>
          <p:cNvPr id="82" name="Up Arrow 81">
            <a:extLst>
              <a:ext uri="{FF2B5EF4-FFF2-40B4-BE49-F238E27FC236}">
                <a16:creationId xmlns:a16="http://schemas.microsoft.com/office/drawing/2014/main" id="{3946C6D0-0455-9FF8-7377-14D2B52FC4F4}"/>
              </a:ext>
            </a:extLst>
          </p:cNvPr>
          <p:cNvSpPr/>
          <p:nvPr/>
        </p:nvSpPr>
        <p:spPr>
          <a:xfrm rot="5400000">
            <a:off x="5860643" y="937768"/>
            <a:ext cx="542578" cy="8682743"/>
          </a:xfrm>
          <a:prstGeom prst="upArrow">
            <a:avLst>
              <a:gd name="adj1" fmla="val 50000"/>
              <a:gd name="adj2" fmla="val 65387"/>
            </a:avLst>
          </a:prstGeom>
          <a:solidFill>
            <a:srgbClr val="BDB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Title 1">
            <a:extLst>
              <a:ext uri="{FF2B5EF4-FFF2-40B4-BE49-F238E27FC236}">
                <a16:creationId xmlns:a16="http://schemas.microsoft.com/office/drawing/2014/main" id="{5ECEDAA9-42E4-AA5D-0474-AA3BB3701EDA}"/>
              </a:ext>
            </a:extLst>
          </p:cNvPr>
          <p:cNvSpPr txBox="1">
            <a:spLocks/>
          </p:cNvSpPr>
          <p:nvPr/>
        </p:nvSpPr>
        <p:spPr>
          <a:xfrm>
            <a:off x="5718371" y="5534676"/>
            <a:ext cx="1011220" cy="341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b="1" spc="100">
                <a:solidFill>
                  <a:srgbClr val="005558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TIME</a:t>
            </a: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113C505-6EA8-577A-B9F6-A639DD5E0485}"/>
              </a:ext>
            </a:extLst>
          </p:cNvPr>
          <p:cNvGrpSpPr/>
          <p:nvPr/>
        </p:nvGrpSpPr>
        <p:grpSpPr>
          <a:xfrm>
            <a:off x="1846930" y="2207177"/>
            <a:ext cx="8492781" cy="2677967"/>
            <a:chOff x="2855913" y="2362200"/>
            <a:chExt cx="7315200" cy="2794998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829C3A5-163E-0870-0292-1F20E780CD11}"/>
                </a:ext>
              </a:extLst>
            </p:cNvPr>
            <p:cNvCxnSpPr/>
            <p:nvPr/>
          </p:nvCxnSpPr>
          <p:spPr>
            <a:xfrm>
              <a:off x="2855913" y="2362200"/>
              <a:ext cx="1219200" cy="1600198"/>
            </a:xfrm>
            <a:prstGeom prst="line">
              <a:avLst/>
            </a:prstGeom>
            <a:ln w="44450" cap="rnd">
              <a:solidFill>
                <a:srgbClr val="9FD05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3F8D9B83-A6E6-2B68-E249-A12F69870E2F}"/>
                </a:ext>
              </a:extLst>
            </p:cNvPr>
            <p:cNvCxnSpPr/>
            <p:nvPr/>
          </p:nvCxnSpPr>
          <p:spPr>
            <a:xfrm>
              <a:off x="4075113" y="3962398"/>
              <a:ext cx="1297425" cy="839570"/>
            </a:xfrm>
            <a:prstGeom prst="line">
              <a:avLst/>
            </a:prstGeom>
            <a:ln w="44450" cap="rnd">
              <a:solidFill>
                <a:srgbClr val="9FD05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EE6EBF08-2B5C-D923-5FB2-381F82984346}"/>
                </a:ext>
              </a:extLst>
            </p:cNvPr>
            <p:cNvCxnSpPr/>
            <p:nvPr/>
          </p:nvCxnSpPr>
          <p:spPr>
            <a:xfrm>
              <a:off x="5372538" y="4801968"/>
              <a:ext cx="4798575" cy="355230"/>
            </a:xfrm>
            <a:prstGeom prst="line">
              <a:avLst/>
            </a:prstGeom>
            <a:ln w="44450" cap="rnd">
              <a:solidFill>
                <a:srgbClr val="9FD05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22364DB6-4BF5-3018-AD79-31C511D60E3A}"/>
              </a:ext>
            </a:extLst>
          </p:cNvPr>
          <p:cNvGrpSpPr/>
          <p:nvPr/>
        </p:nvGrpSpPr>
        <p:grpSpPr>
          <a:xfrm>
            <a:off x="1846930" y="2207177"/>
            <a:ext cx="8492781" cy="2899639"/>
            <a:chOff x="2855913" y="2738110"/>
            <a:chExt cx="7315200" cy="2616471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67114173-DC0E-F823-90F3-8BC4AABF8AB7}"/>
                </a:ext>
              </a:extLst>
            </p:cNvPr>
            <p:cNvCxnSpPr/>
            <p:nvPr/>
          </p:nvCxnSpPr>
          <p:spPr>
            <a:xfrm flipV="1">
              <a:off x="2855913" y="5157198"/>
              <a:ext cx="1219200" cy="197383"/>
            </a:xfrm>
            <a:prstGeom prst="line">
              <a:avLst/>
            </a:prstGeom>
            <a:ln w="44450" cap="rnd">
              <a:solidFill>
                <a:srgbClr val="5AC08E"/>
              </a:solidFill>
              <a:beve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EA383269-5966-C1CB-E6C6-C62BE14AE7DA}"/>
                </a:ext>
              </a:extLst>
            </p:cNvPr>
            <p:cNvCxnSpPr/>
            <p:nvPr/>
          </p:nvCxnSpPr>
          <p:spPr>
            <a:xfrm flipV="1">
              <a:off x="4075113" y="4578037"/>
              <a:ext cx="1661698" cy="579163"/>
            </a:xfrm>
            <a:prstGeom prst="line">
              <a:avLst/>
            </a:prstGeom>
            <a:ln w="44450" cap="rnd">
              <a:solidFill>
                <a:srgbClr val="5AC08E"/>
              </a:solidFill>
              <a:beve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16BAC581-736A-9A60-6342-D460624B89CE}"/>
                </a:ext>
              </a:extLst>
            </p:cNvPr>
            <p:cNvCxnSpPr/>
            <p:nvPr/>
          </p:nvCxnSpPr>
          <p:spPr>
            <a:xfrm flipV="1">
              <a:off x="5736811" y="3614339"/>
              <a:ext cx="936702" cy="963698"/>
            </a:xfrm>
            <a:prstGeom prst="line">
              <a:avLst/>
            </a:prstGeom>
            <a:ln w="44450" cap="rnd">
              <a:solidFill>
                <a:srgbClr val="5AC08E"/>
              </a:solidFill>
              <a:beve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6E95678F-7B62-EB2F-39BF-A1FF371F58EC}"/>
                </a:ext>
              </a:extLst>
            </p:cNvPr>
            <p:cNvCxnSpPr/>
            <p:nvPr/>
          </p:nvCxnSpPr>
          <p:spPr>
            <a:xfrm flipV="1">
              <a:off x="6673513" y="2738110"/>
              <a:ext cx="3497600" cy="876228"/>
            </a:xfrm>
            <a:prstGeom prst="line">
              <a:avLst/>
            </a:prstGeom>
            <a:ln w="44450" cap="rnd">
              <a:solidFill>
                <a:srgbClr val="5AC08E"/>
              </a:solidFill>
              <a:beve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883705C-2654-3DED-857B-1734AF0AC2D6}"/>
              </a:ext>
            </a:extLst>
          </p:cNvPr>
          <p:cNvGrpSpPr/>
          <p:nvPr/>
        </p:nvGrpSpPr>
        <p:grpSpPr>
          <a:xfrm>
            <a:off x="1846930" y="3040702"/>
            <a:ext cx="8492781" cy="1520793"/>
            <a:chOff x="2855913" y="3443217"/>
            <a:chExt cx="7315200" cy="1272080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DDD66FE4-5CDF-C481-3ACD-1B9E45BC21DB}"/>
                </a:ext>
              </a:extLst>
            </p:cNvPr>
            <p:cNvCxnSpPr/>
            <p:nvPr/>
          </p:nvCxnSpPr>
          <p:spPr>
            <a:xfrm flipV="1">
              <a:off x="2855913" y="4492182"/>
              <a:ext cx="2438400" cy="223115"/>
            </a:xfrm>
            <a:prstGeom prst="line">
              <a:avLst/>
            </a:prstGeom>
            <a:ln w="44450" cap="rnd">
              <a:solidFill>
                <a:srgbClr val="00545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9217996-10F1-AEBC-4A56-261C30A82DE5}"/>
                </a:ext>
              </a:extLst>
            </p:cNvPr>
            <p:cNvCxnSpPr/>
            <p:nvPr/>
          </p:nvCxnSpPr>
          <p:spPr>
            <a:xfrm flipV="1">
              <a:off x="5294313" y="3443217"/>
              <a:ext cx="4876800" cy="1048965"/>
            </a:xfrm>
            <a:prstGeom prst="line">
              <a:avLst/>
            </a:prstGeom>
            <a:ln w="44450" cap="rnd">
              <a:solidFill>
                <a:srgbClr val="00545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Oval 95">
            <a:extLst>
              <a:ext uri="{FF2B5EF4-FFF2-40B4-BE49-F238E27FC236}">
                <a16:creationId xmlns:a16="http://schemas.microsoft.com/office/drawing/2014/main" id="{4EA5385D-98BA-8A02-C667-B53EE416DD4B}"/>
              </a:ext>
            </a:extLst>
          </p:cNvPr>
          <p:cNvSpPr/>
          <p:nvPr/>
        </p:nvSpPr>
        <p:spPr>
          <a:xfrm>
            <a:off x="1968116" y="2299339"/>
            <a:ext cx="537883" cy="537884"/>
          </a:xfrm>
          <a:prstGeom prst="ellipse">
            <a:avLst/>
          </a:prstGeom>
          <a:solidFill>
            <a:srgbClr val="9FD0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F8EB7034-621C-96AF-20FC-A9794FA1CAB9}"/>
              </a:ext>
            </a:extLst>
          </p:cNvPr>
          <p:cNvSpPr/>
          <p:nvPr/>
        </p:nvSpPr>
        <p:spPr>
          <a:xfrm>
            <a:off x="1969999" y="4223020"/>
            <a:ext cx="537883" cy="537884"/>
          </a:xfrm>
          <a:prstGeom prst="ellipse">
            <a:avLst/>
          </a:prstGeom>
          <a:solidFill>
            <a:srgbClr val="035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36531E5A-A5A1-A9E3-A7FE-D80F2D441260}"/>
              </a:ext>
            </a:extLst>
          </p:cNvPr>
          <p:cNvSpPr/>
          <p:nvPr/>
        </p:nvSpPr>
        <p:spPr>
          <a:xfrm>
            <a:off x="1971777" y="4843239"/>
            <a:ext cx="537883" cy="537884"/>
          </a:xfrm>
          <a:prstGeom prst="ellipse">
            <a:avLst/>
          </a:prstGeom>
          <a:solidFill>
            <a:srgbClr val="5AC0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BEEEB3C3-A0EA-0FF4-2DC8-1E9B04FFBCA8}"/>
              </a:ext>
            </a:extLst>
          </p:cNvPr>
          <p:cNvSpPr/>
          <p:nvPr/>
        </p:nvSpPr>
        <p:spPr>
          <a:xfrm>
            <a:off x="3932145" y="3677757"/>
            <a:ext cx="1313472" cy="1313474"/>
          </a:xfrm>
          <a:prstGeom prst="ellipse">
            <a:avLst/>
          </a:prstGeom>
          <a:noFill/>
          <a:ln w="85725">
            <a:solidFill>
              <a:srgbClr val="04A6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CAA10F50-A187-AE0D-2DDB-F80BFF0043EA}"/>
              </a:ext>
            </a:extLst>
          </p:cNvPr>
          <p:cNvSpPr/>
          <p:nvPr/>
        </p:nvSpPr>
        <p:spPr>
          <a:xfrm>
            <a:off x="3802348" y="3547959"/>
            <a:ext cx="1573067" cy="1573070"/>
          </a:xfrm>
          <a:prstGeom prst="ellipse">
            <a:avLst/>
          </a:prstGeom>
          <a:noFill/>
          <a:ln w="254000">
            <a:solidFill>
              <a:srgbClr val="04A664">
                <a:alpha val="2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22459867-1DF1-1E16-32E9-0A55E49579E7}"/>
              </a:ext>
            </a:extLst>
          </p:cNvPr>
          <p:cNvGrpSpPr/>
          <p:nvPr/>
        </p:nvGrpSpPr>
        <p:grpSpPr>
          <a:xfrm>
            <a:off x="3663675" y="2460952"/>
            <a:ext cx="1904167" cy="1102921"/>
            <a:chOff x="3596440" y="2460952"/>
            <a:chExt cx="1904167" cy="1102921"/>
          </a:xfrm>
        </p:grpSpPr>
        <p:sp>
          <p:nvSpPr>
            <p:cNvPr id="102" name="Rounded Rectangle 101">
              <a:extLst>
                <a:ext uri="{FF2B5EF4-FFF2-40B4-BE49-F238E27FC236}">
                  <a16:creationId xmlns:a16="http://schemas.microsoft.com/office/drawing/2014/main" id="{EA4DA904-CC9B-4CD4-97EE-B85E8986A934}"/>
                </a:ext>
              </a:extLst>
            </p:cNvPr>
            <p:cNvSpPr/>
            <p:nvPr/>
          </p:nvSpPr>
          <p:spPr>
            <a:xfrm>
              <a:off x="3596440" y="2460952"/>
              <a:ext cx="1904167" cy="980323"/>
            </a:xfrm>
            <a:prstGeom prst="roundRect">
              <a:avLst>
                <a:gd name="adj" fmla="val 4523"/>
              </a:avLst>
            </a:prstGeom>
            <a:solidFill>
              <a:srgbClr val="04A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F8C5DF76-67CC-B69D-25FE-01A3D6E80B47}"/>
                </a:ext>
              </a:extLst>
            </p:cNvPr>
            <p:cNvSpPr txBox="1"/>
            <p:nvPr/>
          </p:nvSpPr>
          <p:spPr>
            <a:xfrm>
              <a:off x="3686686" y="2643395"/>
              <a:ext cx="171021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MAL TIME </a:t>
              </a:r>
              <a:b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REPLACE</a:t>
              </a:r>
            </a:p>
          </p:txBody>
        </p:sp>
        <p:sp>
          <p:nvSpPr>
            <p:cNvPr id="104" name="Triangle 103">
              <a:extLst>
                <a:ext uri="{FF2B5EF4-FFF2-40B4-BE49-F238E27FC236}">
                  <a16:creationId xmlns:a16="http://schemas.microsoft.com/office/drawing/2014/main" id="{425733C7-D3DA-3A52-8655-B2B61F065306}"/>
                </a:ext>
              </a:extLst>
            </p:cNvPr>
            <p:cNvSpPr/>
            <p:nvPr/>
          </p:nvSpPr>
          <p:spPr>
            <a:xfrm rot="10800000">
              <a:off x="4405528" y="3392823"/>
              <a:ext cx="248939" cy="171050"/>
            </a:xfrm>
            <a:prstGeom prst="triangle">
              <a:avLst>
                <a:gd name="adj" fmla="val 50000"/>
              </a:avLst>
            </a:prstGeom>
            <a:solidFill>
              <a:srgbClr val="04A6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5" name="Graphic 104">
            <a:extLst>
              <a:ext uri="{FF2B5EF4-FFF2-40B4-BE49-F238E27FC236}">
                <a16:creationId xmlns:a16="http://schemas.microsoft.com/office/drawing/2014/main" id="{7F3A2C67-90C3-FFCE-F7EF-DC4CB41C647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200000">
            <a:off x="729543" y="4097725"/>
            <a:ext cx="452815" cy="297008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FFCBA135-DFD1-CFCF-B42F-6879A5D61FF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12202" y="5577994"/>
            <a:ext cx="311280" cy="311280"/>
          </a:xfrm>
          <a:prstGeom prst="rect">
            <a:avLst/>
          </a:prstGeom>
        </p:spPr>
      </p:pic>
      <p:sp>
        <p:nvSpPr>
          <p:cNvPr id="114" name="Freeform 113">
            <a:extLst>
              <a:ext uri="{FF2B5EF4-FFF2-40B4-BE49-F238E27FC236}">
                <a16:creationId xmlns:a16="http://schemas.microsoft.com/office/drawing/2014/main" id="{D770F95E-1463-4006-C2D8-1E37EFB7BA48}"/>
              </a:ext>
            </a:extLst>
          </p:cNvPr>
          <p:cNvSpPr/>
          <p:nvPr/>
        </p:nvSpPr>
        <p:spPr>
          <a:xfrm>
            <a:off x="2221354" y="2625039"/>
            <a:ext cx="952" cy="24835"/>
          </a:xfrm>
          <a:custGeom>
            <a:avLst/>
            <a:gdLst>
              <a:gd name="connsiteX0" fmla="*/ 0 w 952"/>
              <a:gd name="connsiteY0" fmla="*/ 24836 h 24835"/>
              <a:gd name="connsiteX1" fmla="*/ 0 w 952"/>
              <a:gd name="connsiteY1" fmla="*/ 0 h 24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52" h="24835">
                <a:moveTo>
                  <a:pt x="0" y="24836"/>
                </a:move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5" name="Freeform 114">
            <a:extLst>
              <a:ext uri="{FF2B5EF4-FFF2-40B4-BE49-F238E27FC236}">
                <a16:creationId xmlns:a16="http://schemas.microsoft.com/office/drawing/2014/main" id="{7FB65BF1-F115-2447-0869-09585DCD4AE9}"/>
              </a:ext>
            </a:extLst>
          </p:cNvPr>
          <p:cNvSpPr/>
          <p:nvPr/>
        </p:nvSpPr>
        <p:spPr>
          <a:xfrm>
            <a:off x="2221354" y="2458688"/>
            <a:ext cx="952" cy="24835"/>
          </a:xfrm>
          <a:custGeom>
            <a:avLst/>
            <a:gdLst>
              <a:gd name="connsiteX0" fmla="*/ 0 w 952"/>
              <a:gd name="connsiteY0" fmla="*/ 24836 h 24835"/>
              <a:gd name="connsiteX1" fmla="*/ 0 w 952"/>
              <a:gd name="connsiteY1" fmla="*/ 0 h 24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52" h="24835">
                <a:moveTo>
                  <a:pt x="0" y="24836"/>
                </a:move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6" name="Freeform 115">
            <a:extLst>
              <a:ext uri="{FF2B5EF4-FFF2-40B4-BE49-F238E27FC236}">
                <a16:creationId xmlns:a16="http://schemas.microsoft.com/office/drawing/2014/main" id="{1C393080-C8B5-7C64-5D73-4F06E2093C0C}"/>
              </a:ext>
            </a:extLst>
          </p:cNvPr>
          <p:cNvSpPr/>
          <p:nvPr/>
        </p:nvSpPr>
        <p:spPr>
          <a:xfrm>
            <a:off x="2171064" y="2483524"/>
            <a:ext cx="100580" cy="141515"/>
          </a:xfrm>
          <a:custGeom>
            <a:avLst/>
            <a:gdLst>
              <a:gd name="connsiteX0" fmla="*/ 2915 w 100580"/>
              <a:gd name="connsiteY0" fmla="*/ 108897 h 141515"/>
              <a:gd name="connsiteX1" fmla="*/ 37310 w 100580"/>
              <a:gd name="connsiteY1" fmla="*/ 141516 h 141515"/>
              <a:gd name="connsiteX2" fmla="*/ 63265 w 100580"/>
              <a:gd name="connsiteY2" fmla="*/ 141516 h 141515"/>
              <a:gd name="connsiteX3" fmla="*/ 100581 w 100580"/>
              <a:gd name="connsiteY3" fmla="*/ 106135 h 141515"/>
              <a:gd name="connsiteX4" fmla="*/ 89654 w 100580"/>
              <a:gd name="connsiteY4" fmla="*/ 81118 h 141515"/>
              <a:gd name="connsiteX5" fmla="*/ 63265 w 100580"/>
              <a:gd name="connsiteY5" fmla="*/ 70758 h 141515"/>
              <a:gd name="connsiteX6" fmla="*/ 37310 w 100580"/>
              <a:gd name="connsiteY6" fmla="*/ 70758 h 141515"/>
              <a:gd name="connsiteX7" fmla="*/ 0 w 100580"/>
              <a:gd name="connsiteY7" fmla="*/ 35381 h 141515"/>
              <a:gd name="connsiteX8" fmla="*/ 10927 w 100580"/>
              <a:gd name="connsiteY8" fmla="*/ 10365 h 141515"/>
              <a:gd name="connsiteX9" fmla="*/ 37310 w 100580"/>
              <a:gd name="connsiteY9" fmla="*/ 0 h 141515"/>
              <a:gd name="connsiteX10" fmla="*/ 63265 w 100580"/>
              <a:gd name="connsiteY10" fmla="*/ 0 h 141515"/>
              <a:gd name="connsiteX11" fmla="*/ 97666 w 100580"/>
              <a:gd name="connsiteY11" fmla="*/ 32614 h 141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580" h="141515">
                <a:moveTo>
                  <a:pt x="2915" y="108897"/>
                </a:moveTo>
                <a:cubicBezTo>
                  <a:pt x="2915" y="126912"/>
                  <a:pt x="18315" y="141516"/>
                  <a:pt x="37310" y="141516"/>
                </a:cubicBezTo>
                <a:lnTo>
                  <a:pt x="63265" y="141516"/>
                </a:lnTo>
                <a:cubicBezTo>
                  <a:pt x="83876" y="141516"/>
                  <a:pt x="100581" y="125678"/>
                  <a:pt x="100581" y="106135"/>
                </a:cubicBezTo>
                <a:cubicBezTo>
                  <a:pt x="100581" y="96365"/>
                  <a:pt x="96403" y="87520"/>
                  <a:pt x="89654" y="81118"/>
                </a:cubicBezTo>
                <a:cubicBezTo>
                  <a:pt x="82899" y="74716"/>
                  <a:pt x="73573" y="70758"/>
                  <a:pt x="63265" y="70758"/>
                </a:cubicBezTo>
                <a:lnTo>
                  <a:pt x="37310" y="70758"/>
                </a:lnTo>
                <a:cubicBezTo>
                  <a:pt x="16705" y="70758"/>
                  <a:pt x="0" y="54920"/>
                  <a:pt x="0" y="35381"/>
                </a:cubicBezTo>
                <a:cubicBezTo>
                  <a:pt x="0" y="25612"/>
                  <a:pt x="4177" y="16767"/>
                  <a:pt x="10927" y="10365"/>
                </a:cubicBezTo>
                <a:cubicBezTo>
                  <a:pt x="17681" y="3963"/>
                  <a:pt x="27008" y="0"/>
                  <a:pt x="37310" y="0"/>
                </a:cubicBezTo>
                <a:lnTo>
                  <a:pt x="63265" y="0"/>
                </a:lnTo>
                <a:cubicBezTo>
                  <a:pt x="82261" y="0"/>
                  <a:pt x="97666" y="14604"/>
                  <a:pt x="97666" y="32614"/>
                </a:cubicBezTo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7" name="Freeform 116">
            <a:extLst>
              <a:ext uri="{FF2B5EF4-FFF2-40B4-BE49-F238E27FC236}">
                <a16:creationId xmlns:a16="http://schemas.microsoft.com/office/drawing/2014/main" id="{EED1399C-F2F3-0AFB-65B7-6E926303822C}"/>
              </a:ext>
            </a:extLst>
          </p:cNvPr>
          <p:cNvSpPr/>
          <p:nvPr/>
        </p:nvSpPr>
        <p:spPr>
          <a:xfrm>
            <a:off x="2054107" y="2389916"/>
            <a:ext cx="334498" cy="328730"/>
          </a:xfrm>
          <a:custGeom>
            <a:avLst/>
            <a:gdLst>
              <a:gd name="connsiteX0" fmla="*/ 334499 w 334498"/>
              <a:gd name="connsiteY0" fmla="*/ 164365 h 328730"/>
              <a:gd name="connsiteX1" fmla="*/ 167247 w 334498"/>
              <a:gd name="connsiteY1" fmla="*/ 0 h 328730"/>
              <a:gd name="connsiteX2" fmla="*/ 0 w 334498"/>
              <a:gd name="connsiteY2" fmla="*/ 164365 h 328730"/>
              <a:gd name="connsiteX3" fmla="*/ 167247 w 334498"/>
              <a:gd name="connsiteY3" fmla="*/ 328731 h 328730"/>
              <a:gd name="connsiteX4" fmla="*/ 284970 w 334498"/>
              <a:gd name="connsiteY4" fmla="*/ 281112 h 328730"/>
              <a:gd name="connsiteX5" fmla="*/ 252557 w 334498"/>
              <a:gd name="connsiteY5" fmla="*/ 243616 h 328730"/>
              <a:gd name="connsiteX6" fmla="*/ 286371 w 334498"/>
              <a:gd name="connsiteY6" fmla="*/ 243616 h 328730"/>
              <a:gd name="connsiteX7" fmla="*/ 286371 w 334498"/>
              <a:gd name="connsiteY7" fmla="*/ 182023 h 328730"/>
              <a:gd name="connsiteX8" fmla="*/ 333541 w 334498"/>
              <a:gd name="connsiteY8" fmla="*/ 182023 h 328730"/>
              <a:gd name="connsiteX9" fmla="*/ 334499 w 334498"/>
              <a:gd name="connsiteY9" fmla="*/ 164365 h 328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4498" h="328730">
                <a:moveTo>
                  <a:pt x="334499" y="164365"/>
                </a:moveTo>
                <a:cubicBezTo>
                  <a:pt x="334499" y="73588"/>
                  <a:pt x="259616" y="0"/>
                  <a:pt x="167247" y="0"/>
                </a:cubicBezTo>
                <a:cubicBezTo>
                  <a:pt x="74878" y="0"/>
                  <a:pt x="0" y="73588"/>
                  <a:pt x="0" y="164365"/>
                </a:cubicBezTo>
                <a:cubicBezTo>
                  <a:pt x="0" y="255143"/>
                  <a:pt x="74878" y="328731"/>
                  <a:pt x="167247" y="328731"/>
                </a:cubicBezTo>
                <a:cubicBezTo>
                  <a:pt x="213155" y="328731"/>
                  <a:pt x="254743" y="310554"/>
                  <a:pt x="284970" y="281112"/>
                </a:cubicBezTo>
                <a:lnTo>
                  <a:pt x="252557" y="243616"/>
                </a:lnTo>
                <a:lnTo>
                  <a:pt x="286371" y="243616"/>
                </a:lnTo>
                <a:lnTo>
                  <a:pt x="286371" y="182023"/>
                </a:lnTo>
                <a:lnTo>
                  <a:pt x="333541" y="182023"/>
                </a:lnTo>
                <a:cubicBezTo>
                  <a:pt x="334175" y="176221"/>
                  <a:pt x="334499" y="170334"/>
                  <a:pt x="334499" y="164365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8" name="Freeform 117">
            <a:extLst>
              <a:ext uri="{FF2B5EF4-FFF2-40B4-BE49-F238E27FC236}">
                <a16:creationId xmlns:a16="http://schemas.microsoft.com/office/drawing/2014/main" id="{B6873CBE-8F2C-9ED3-A3A3-0790AA9EDB92}"/>
              </a:ext>
            </a:extLst>
          </p:cNvPr>
          <p:cNvSpPr/>
          <p:nvPr/>
        </p:nvSpPr>
        <p:spPr>
          <a:xfrm>
            <a:off x="2306664" y="2571939"/>
            <a:ext cx="130331" cy="136976"/>
          </a:xfrm>
          <a:custGeom>
            <a:avLst/>
            <a:gdLst>
              <a:gd name="connsiteX0" fmla="*/ 130332 w 130331"/>
              <a:gd name="connsiteY0" fmla="*/ 61593 h 136976"/>
              <a:gd name="connsiteX1" fmla="*/ 96518 w 130331"/>
              <a:gd name="connsiteY1" fmla="*/ 61593 h 136976"/>
              <a:gd name="connsiteX2" fmla="*/ 96518 w 130331"/>
              <a:gd name="connsiteY2" fmla="*/ 0 h 136976"/>
              <a:gd name="connsiteX3" fmla="*/ 33814 w 130331"/>
              <a:gd name="connsiteY3" fmla="*/ 0 h 136976"/>
              <a:gd name="connsiteX4" fmla="*/ 33814 w 130331"/>
              <a:gd name="connsiteY4" fmla="*/ 61593 h 136976"/>
              <a:gd name="connsiteX5" fmla="*/ 0 w 130331"/>
              <a:gd name="connsiteY5" fmla="*/ 61593 h 136976"/>
              <a:gd name="connsiteX6" fmla="*/ 32414 w 130331"/>
              <a:gd name="connsiteY6" fmla="*/ 99090 h 136976"/>
              <a:gd name="connsiteX7" fmla="*/ 65166 w 130331"/>
              <a:gd name="connsiteY7" fmla="*/ 136977 h 136976"/>
              <a:gd name="connsiteX8" fmla="*/ 130332 w 130331"/>
              <a:gd name="connsiteY8" fmla="*/ 61593 h 136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331" h="136976">
                <a:moveTo>
                  <a:pt x="130332" y="61593"/>
                </a:moveTo>
                <a:lnTo>
                  <a:pt x="96518" y="61593"/>
                </a:lnTo>
                <a:lnTo>
                  <a:pt x="96518" y="0"/>
                </a:lnTo>
                <a:lnTo>
                  <a:pt x="33814" y="0"/>
                </a:lnTo>
                <a:lnTo>
                  <a:pt x="33814" y="61593"/>
                </a:lnTo>
                <a:lnTo>
                  <a:pt x="0" y="61593"/>
                </a:lnTo>
                <a:lnTo>
                  <a:pt x="32414" y="99090"/>
                </a:lnTo>
                <a:lnTo>
                  <a:pt x="65166" y="136977"/>
                </a:lnTo>
                <a:lnTo>
                  <a:pt x="130332" y="61593"/>
                </a:ln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08" name="Graphic 107">
            <a:extLst>
              <a:ext uri="{FF2B5EF4-FFF2-40B4-BE49-F238E27FC236}">
                <a16:creationId xmlns:a16="http://schemas.microsoft.com/office/drawing/2014/main" id="{E4803CD6-C390-0180-CA78-AE5BBB719FB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18137" y="4304951"/>
            <a:ext cx="284071" cy="380776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C1DBB141-4A37-3D4C-3B53-999B3407D831}"/>
              </a:ext>
            </a:extLst>
          </p:cNvPr>
          <p:cNvSpPr txBox="1"/>
          <p:nvPr/>
        </p:nvSpPr>
        <p:spPr>
          <a:xfrm>
            <a:off x="5882711" y="1715338"/>
            <a:ext cx="13354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9FD0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RECIATION</a:t>
            </a:r>
          </a:p>
        </p:txBody>
      </p:sp>
      <p:pic>
        <p:nvPicPr>
          <p:cNvPr id="112" name="Graphic 111">
            <a:extLst>
              <a:ext uri="{FF2B5EF4-FFF2-40B4-BE49-F238E27FC236}">
                <a16:creationId xmlns:a16="http://schemas.microsoft.com/office/drawing/2014/main" id="{47F62181-65F9-44DC-7816-0EAD942E5A1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82743" y="4954317"/>
            <a:ext cx="324503" cy="32450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61BA652-83A6-2060-45D4-F2317269E390}"/>
              </a:ext>
            </a:extLst>
          </p:cNvPr>
          <p:cNvSpPr/>
          <p:nvPr/>
        </p:nvSpPr>
        <p:spPr>
          <a:xfrm>
            <a:off x="5335704" y="1843148"/>
            <a:ext cx="547007" cy="76180"/>
          </a:xfrm>
          <a:prstGeom prst="rect">
            <a:avLst/>
          </a:prstGeom>
          <a:solidFill>
            <a:srgbClr val="9FD05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4B714A-9A79-A7B7-55D6-2D880894C049}"/>
              </a:ext>
            </a:extLst>
          </p:cNvPr>
          <p:cNvSpPr txBox="1"/>
          <p:nvPr/>
        </p:nvSpPr>
        <p:spPr>
          <a:xfrm>
            <a:off x="7891125" y="1715338"/>
            <a:ext cx="5870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0354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8E8DB1-21C9-E601-CAB6-72D641D454D9}"/>
              </a:ext>
            </a:extLst>
          </p:cNvPr>
          <p:cNvSpPr/>
          <p:nvPr/>
        </p:nvSpPr>
        <p:spPr>
          <a:xfrm>
            <a:off x="7344118" y="1843148"/>
            <a:ext cx="547007" cy="76180"/>
          </a:xfrm>
          <a:prstGeom prst="rect">
            <a:avLst/>
          </a:prstGeom>
          <a:solidFill>
            <a:srgbClr val="0354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3FBA90-E19B-75D5-185B-24C29830CE64}"/>
              </a:ext>
            </a:extLst>
          </p:cNvPr>
          <p:cNvSpPr txBox="1"/>
          <p:nvPr/>
        </p:nvSpPr>
        <p:spPr>
          <a:xfrm>
            <a:off x="9151130" y="1715338"/>
            <a:ext cx="13195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5AC0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480E51-2404-F0AF-65B8-2976CFB82A07}"/>
              </a:ext>
            </a:extLst>
          </p:cNvPr>
          <p:cNvSpPr/>
          <p:nvPr/>
        </p:nvSpPr>
        <p:spPr>
          <a:xfrm>
            <a:off x="8604123" y="1843148"/>
            <a:ext cx="547007" cy="76180"/>
          </a:xfrm>
          <a:prstGeom prst="rect">
            <a:avLst/>
          </a:prstGeom>
          <a:solidFill>
            <a:srgbClr val="5AC08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3583EB-1951-F867-02DA-5A6CD26683E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15" y="6182570"/>
            <a:ext cx="1735969" cy="57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56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3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8" presetClass="entr" presetSubtype="3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OST OF OWNERSHI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8" y="657459"/>
            <a:ext cx="4392609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IMPACTS OF LOWERING FLEET AG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B775EB7-4817-CB00-174B-AC9E977E7F24}"/>
              </a:ext>
            </a:extLst>
          </p:cNvPr>
          <p:cNvSpPr txBox="1"/>
          <p:nvPr/>
        </p:nvSpPr>
        <p:spPr>
          <a:xfrm>
            <a:off x="412260" y="1402399"/>
            <a:ext cx="6468943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</a:rPr>
              <a:t>Reduced Operating Expense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2000" dirty="0">
                <a:solidFill>
                  <a:prstClr val="black"/>
                </a:solidFill>
                <a:latin typeface="Arial Narrow" panose="020B0606020202030204" pitchFamily="34" charset="0"/>
              </a:rPr>
              <a:t>Maintenance, Fuel</a:t>
            </a: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</a:rPr>
              <a:t>Reduced Downtime</a:t>
            </a:r>
            <a:endParaRPr lang="en-US" sz="28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</a:rPr>
              <a:t>Increased Fuel Economy</a:t>
            </a: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</a:rPr>
              <a:t>Increased Safety for Drivers</a:t>
            </a: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More Predictable Budgeting</a:t>
            </a: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Sustainable Replacement Process</a:t>
            </a: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sz="2800" b="1" dirty="0">
                <a:solidFill>
                  <a:srgbClr val="00B05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Higher Resale Values</a:t>
            </a:r>
            <a:endParaRPr lang="en-US" sz="28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63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89F712F-E092-7459-70D6-07F5F1F6A7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6256" y="192493"/>
            <a:ext cx="1624313" cy="54143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1ECC136-1284-7265-D8FF-C1C8864976B0}"/>
              </a:ext>
            </a:extLst>
          </p:cNvPr>
          <p:cNvSpPr txBox="1"/>
          <p:nvPr/>
        </p:nvSpPr>
        <p:spPr>
          <a:xfrm>
            <a:off x="1714853" y="4514129"/>
            <a:ext cx="8693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493">
              <a:defRPr/>
            </a:pPr>
            <a:r>
              <a:rPr lang="en-US" sz="2000" b="1" dirty="0">
                <a:solidFill>
                  <a:prstClr val="black"/>
                </a:solidFill>
                <a:latin typeface="Calibri"/>
              </a:rPr>
              <a:t>Wholesale Value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B6F7F542-7947-91F3-B57C-28806CF68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176606"/>
              </p:ext>
            </p:extLst>
          </p:nvPr>
        </p:nvGraphicFramePr>
        <p:xfrm>
          <a:off x="526882" y="4897411"/>
          <a:ext cx="10659705" cy="485755"/>
        </p:xfrm>
        <a:graphic>
          <a:graphicData uri="http://schemas.openxmlformats.org/drawingml/2006/table">
            <a:tbl>
              <a:tblPr/>
              <a:tblGrid>
                <a:gridCol w="2377935">
                  <a:extLst>
                    <a:ext uri="{9D8B030D-6E8A-4147-A177-3AD203B41FA5}">
                      <a16:colId xmlns:a16="http://schemas.microsoft.com/office/drawing/2014/main" val="3239837853"/>
                    </a:ext>
                  </a:extLst>
                </a:gridCol>
                <a:gridCol w="2377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57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g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EHICL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vg</a:t>
                      </a:r>
                      <a:r>
                        <a:rPr lang="en-US" sz="16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Odometer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Avg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Sale Pric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ss of Value</a:t>
                      </a:r>
                    </a:p>
                  </a:txBody>
                  <a:tcPr marL="6350" marR="6350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D52668AC-40CC-56EC-5D29-5E8E9DC930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426587"/>
              </p:ext>
            </p:extLst>
          </p:nvPr>
        </p:nvGraphicFramePr>
        <p:xfrm>
          <a:off x="526882" y="5455396"/>
          <a:ext cx="10659705" cy="988060"/>
        </p:xfrm>
        <a:graphic>
          <a:graphicData uri="http://schemas.openxmlformats.org/drawingml/2006/table">
            <a:tbl>
              <a:tblPr/>
              <a:tblGrid>
                <a:gridCol w="2377935">
                  <a:extLst>
                    <a:ext uri="{9D8B030D-6E8A-4147-A177-3AD203B41FA5}">
                      <a16:colId xmlns:a16="http://schemas.microsoft.com/office/drawing/2014/main" val="1972197402"/>
                    </a:ext>
                  </a:extLst>
                </a:gridCol>
                <a:gridCol w="2377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79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575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Year Ol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 Ford F-150 XL Crew Cab 4x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5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34,996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6,99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575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Years Ol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0 Ford F-150 XL Crew Cab 4x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,5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23,31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B05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18,67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7035410"/>
                  </a:ext>
                </a:extLst>
              </a:tr>
            </a:tbl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ED4A30E4-53F8-1330-82ED-D6FC403E4EE4}"/>
              </a:ext>
            </a:extLst>
          </p:cNvPr>
          <p:cNvSpPr/>
          <p:nvPr/>
        </p:nvSpPr>
        <p:spPr>
          <a:xfrm>
            <a:off x="836967" y="2922792"/>
            <a:ext cx="10169720" cy="1563446"/>
          </a:xfrm>
          <a:prstGeom prst="rect">
            <a:avLst/>
          </a:prstGeom>
          <a:solidFill>
            <a:sysClr val="window" lastClr="FFFFFF">
              <a:lumMod val="85000"/>
              <a:alpha val="80000"/>
            </a:sysClr>
          </a:solidFill>
          <a:ln w="2857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50DAD64-21AA-201F-A0A0-A4711B0FB13F}"/>
              </a:ext>
            </a:extLst>
          </p:cNvPr>
          <p:cNvSpPr/>
          <p:nvPr/>
        </p:nvSpPr>
        <p:spPr>
          <a:xfrm>
            <a:off x="3472519" y="3185731"/>
            <a:ext cx="7278609" cy="1089107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0445EC-D2CC-F86D-DBCB-A8FA74F17E40}"/>
              </a:ext>
            </a:extLst>
          </p:cNvPr>
          <p:cNvSpPr/>
          <p:nvPr/>
        </p:nvSpPr>
        <p:spPr>
          <a:xfrm>
            <a:off x="6066932" y="1240232"/>
            <a:ext cx="4471699" cy="138136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4B8957D-DE37-2D16-3F47-E16A171B87AC}"/>
              </a:ext>
            </a:extLst>
          </p:cNvPr>
          <p:cNvSpPr/>
          <p:nvPr/>
        </p:nvSpPr>
        <p:spPr>
          <a:xfrm>
            <a:off x="6112030" y="1202754"/>
            <a:ext cx="4426600" cy="1418840"/>
          </a:xfrm>
          <a:prstGeom prst="rect">
            <a:avLst/>
          </a:prstGeom>
          <a:noFill/>
          <a:ln w="381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E245E2F-F193-59C4-8A38-C230A79CF0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1590" t="3761" b="85574"/>
          <a:stretch/>
        </p:blipFill>
        <p:spPr>
          <a:xfrm>
            <a:off x="8060804" y="3385613"/>
            <a:ext cx="2308232" cy="23706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EB4D6D7-2FAC-1B17-0059-77443060E2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15" r="45153" b="85320"/>
          <a:stretch/>
        </p:blipFill>
        <p:spPr>
          <a:xfrm>
            <a:off x="3838874" y="3397894"/>
            <a:ext cx="4456114" cy="237066"/>
          </a:xfrm>
          <a:prstGeom prst="rect">
            <a:avLst/>
          </a:prstGeom>
        </p:spPr>
      </p:pic>
      <p:sp>
        <p:nvSpPr>
          <p:cNvPr id="4096" name="Rectangle 4095">
            <a:extLst>
              <a:ext uri="{FF2B5EF4-FFF2-40B4-BE49-F238E27FC236}">
                <a16:creationId xmlns:a16="http://schemas.microsoft.com/office/drawing/2014/main" id="{94561CA9-8916-76F6-DC43-C93B05C596C8}"/>
              </a:ext>
            </a:extLst>
          </p:cNvPr>
          <p:cNvSpPr/>
          <p:nvPr/>
        </p:nvSpPr>
        <p:spPr>
          <a:xfrm>
            <a:off x="3846668" y="3373331"/>
            <a:ext cx="6522369" cy="665976"/>
          </a:xfrm>
          <a:prstGeom prst="rect">
            <a:avLst/>
          </a:prstGeom>
          <a:noFill/>
          <a:ln w="5715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342900" marR="0" lvl="0" indent="-34290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99" name="TextBox 4098">
            <a:extLst>
              <a:ext uri="{FF2B5EF4-FFF2-40B4-BE49-F238E27FC236}">
                <a16:creationId xmlns:a16="http://schemas.microsoft.com/office/drawing/2014/main" id="{9C80BCFA-C86F-967E-2BAB-3138830A1072}"/>
              </a:ext>
            </a:extLst>
          </p:cNvPr>
          <p:cNvSpPr txBox="1"/>
          <p:nvPr/>
        </p:nvSpPr>
        <p:spPr>
          <a:xfrm>
            <a:off x="6155153" y="1907226"/>
            <a:ext cx="43403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93"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2025 Ford F-150 XL </a:t>
            </a:r>
            <a:r>
              <a:rPr lang="en-US" sz="1400" b="1" dirty="0" err="1">
                <a:solidFill>
                  <a:prstClr val="black"/>
                </a:solidFill>
                <a:latin typeface="Calibri"/>
              </a:rPr>
              <a:t>SuperCrew</a:t>
            </a:r>
            <a:r>
              <a:rPr lang="en-US" sz="1400" b="1" dirty="0">
                <a:solidFill>
                  <a:prstClr val="black"/>
                </a:solidFill>
                <a:latin typeface="Calibri"/>
              </a:rPr>
              <a:t> Cab 5.5 ft. Box 145 in WB</a:t>
            </a:r>
          </a:p>
        </p:txBody>
      </p:sp>
      <p:sp>
        <p:nvSpPr>
          <p:cNvPr id="4101" name="TextBox 4100">
            <a:extLst>
              <a:ext uri="{FF2B5EF4-FFF2-40B4-BE49-F238E27FC236}">
                <a16:creationId xmlns:a16="http://schemas.microsoft.com/office/drawing/2014/main" id="{E9943EE9-7A62-CF1D-5292-A34B5CD9E54C}"/>
              </a:ext>
            </a:extLst>
          </p:cNvPr>
          <p:cNvSpPr txBox="1"/>
          <p:nvPr/>
        </p:nvSpPr>
        <p:spPr>
          <a:xfrm>
            <a:off x="7459501" y="2226548"/>
            <a:ext cx="1670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93">
              <a:defRPr/>
            </a:pPr>
            <a:r>
              <a:rPr lang="en-US" b="1" dirty="0">
                <a:solidFill>
                  <a:prstClr val="black"/>
                </a:solidFill>
                <a:latin typeface="Calibri"/>
              </a:rPr>
              <a:t>MSRP: $50,290</a:t>
            </a:r>
          </a:p>
        </p:txBody>
      </p:sp>
      <p:sp>
        <p:nvSpPr>
          <p:cNvPr id="4102" name="TextBox 4101">
            <a:extLst>
              <a:ext uri="{FF2B5EF4-FFF2-40B4-BE49-F238E27FC236}">
                <a16:creationId xmlns:a16="http://schemas.microsoft.com/office/drawing/2014/main" id="{BBEE5E2A-EF8D-5D4F-8A56-2E3AD1DA9207}"/>
              </a:ext>
            </a:extLst>
          </p:cNvPr>
          <p:cNvSpPr txBox="1"/>
          <p:nvPr/>
        </p:nvSpPr>
        <p:spPr>
          <a:xfrm>
            <a:off x="3880271" y="3573873"/>
            <a:ext cx="4265200" cy="461665"/>
          </a:xfrm>
          <a:prstGeom prst="rect">
            <a:avLst/>
          </a:prstGeom>
          <a:solidFill>
            <a:sysClr val="window" lastClr="FFFFFF">
              <a:lumMod val="85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2025 Ford F-150 XL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SuperCrew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Cab 5.5 ft. Box 145 in. WB </a:t>
            </a:r>
          </a:p>
          <a:p>
            <a:pPr marL="0" marR="0" lvl="0" indent="0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(W1L)</a:t>
            </a:r>
          </a:p>
        </p:txBody>
      </p:sp>
      <p:sp>
        <p:nvSpPr>
          <p:cNvPr id="4103" name="TextBox 4102">
            <a:extLst>
              <a:ext uri="{FF2B5EF4-FFF2-40B4-BE49-F238E27FC236}">
                <a16:creationId xmlns:a16="http://schemas.microsoft.com/office/drawing/2014/main" id="{4FCF199A-EC58-C7C4-F223-0729BBD77A86}"/>
              </a:ext>
            </a:extLst>
          </p:cNvPr>
          <p:cNvSpPr txBox="1"/>
          <p:nvPr/>
        </p:nvSpPr>
        <p:spPr>
          <a:xfrm>
            <a:off x="8119242" y="3574234"/>
            <a:ext cx="2249795" cy="461665"/>
          </a:xfrm>
          <a:prstGeom prst="rect">
            <a:avLst/>
          </a:prstGeom>
          <a:solidFill>
            <a:sysClr val="window" lastClr="FFFFFF">
              <a:lumMod val="85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algn="ctr" defTabSz="60949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$41,987</a:t>
            </a:r>
          </a:p>
        </p:txBody>
      </p:sp>
      <p:pic>
        <p:nvPicPr>
          <p:cNvPr id="4105" name="Picture 4104">
            <a:extLst>
              <a:ext uri="{FF2B5EF4-FFF2-40B4-BE49-F238E27FC236}">
                <a16:creationId xmlns:a16="http://schemas.microsoft.com/office/drawing/2014/main" id="{C84DB51E-4B31-C3B6-900E-E89F451E1A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7307" y="1083795"/>
            <a:ext cx="1856832" cy="1044468"/>
          </a:xfrm>
          <a:prstGeom prst="rect">
            <a:avLst/>
          </a:prstGeom>
        </p:spPr>
      </p:pic>
      <p:pic>
        <p:nvPicPr>
          <p:cNvPr id="4108" name="Picture 4107">
            <a:extLst>
              <a:ext uri="{FF2B5EF4-FFF2-40B4-BE49-F238E27FC236}">
                <a16:creationId xmlns:a16="http://schemas.microsoft.com/office/drawing/2014/main" id="{F616BC4E-A7FB-3ADE-08FB-ABEEFE88E7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381" b="95238" l="1758" r="98633">
                        <a14:foregroundMark x1="19948" y1="20894" x2="1367" y2="45918"/>
                        <a14:foregroundMark x1="30197" y1="7092" x2="28951" y2="8770"/>
                        <a14:foregroundMark x1="1367" y1="45918" x2="586" y2="81293"/>
                        <a14:foregroundMark x1="586" y1="81293" x2="15625" y2="95918"/>
                        <a14:foregroundMark x1="15625" y1="95918" x2="34570" y2="99320"/>
                        <a14:foregroundMark x1="34570" y1="99320" x2="66745" y2="98140"/>
                        <a14:foregroundMark x1="88313" y1="87638" x2="88672" y2="87415"/>
                        <a14:foregroundMark x1="71797" y1="97886" x2="73581" y2="96779"/>
                        <a14:foregroundMark x1="88672" y1="87415" x2="99609" y2="68027"/>
                        <a14:foregroundMark x1="99609" y1="68027" x2="99609" y2="39456"/>
                        <a14:foregroundMark x1="99609" y1="39456" x2="76299" y2="5334"/>
                        <a14:foregroundMark x1="37695" y1="2231" x2="35867" y2="2348"/>
                        <a14:foregroundMark x1="30569" y1="5566" x2="29677" y2="6160"/>
                        <a14:foregroundMark x1="32775" y1="4097" x2="32582" y2="4225"/>
                        <a14:foregroundMark x1="46289" y1="52721" x2="10156" y2="49320"/>
                        <a14:foregroundMark x1="44531" y1="39796" x2="3516" y2="47279"/>
                        <a14:foregroundMark x1="3516" y1="47279" x2="6641" y2="73129"/>
                        <a14:foregroundMark x1="6641" y1="73129" x2="30273" y2="75850"/>
                        <a14:foregroundMark x1="30273" y1="75850" x2="51172" y2="75850"/>
                        <a14:foregroundMark x1="3711" y1="36395" x2="1953" y2="63605"/>
                        <a14:foregroundMark x1="1953" y1="63605" x2="8984" y2="87075"/>
                        <a14:foregroundMark x1="8984" y1="87075" x2="10547" y2="89116"/>
                        <a14:foregroundMark x1="4883" y1="82993" x2="14258" y2="92857"/>
                        <a14:foregroundMark x1="22266" y1="89796" x2="48438" y2="90476"/>
                        <a14:foregroundMark x1="30664" y1="95918" x2="60742" y2="92517"/>
                        <a14:foregroundMark x1="82617" y1="75170" x2="91992" y2="53061"/>
                        <a14:foregroundMark x1="91992" y1="53061" x2="94922" y2="34014"/>
                        <a14:foregroundMark x1="76953" y1="5102" x2="86328" y2="23469"/>
                        <a14:foregroundMark x1="77539" y1="5102" x2="88281" y2="23810"/>
                        <a14:foregroundMark x1="88281" y1="22789" x2="77734" y2="4422"/>
                        <a14:foregroundMark x1="77734" y1="4422" x2="76721" y2="4181"/>
                        <a14:foregroundMark x1="36328" y1="3061" x2="36328" y2="3061"/>
                        <a14:foregroundMark x1="37500" y1="3061" x2="36133" y2="3061"/>
                        <a14:foregroundMark x1="36523" y1="4422" x2="69141" y2="3401"/>
                        <a14:foregroundMark x1="98242" y1="30272" x2="98633" y2="55102"/>
                        <a14:backgroundMark x1="22070" y1="13265" x2="29688" y2="6122"/>
                        <a14:backgroundMark x1="34375" y1="3061" x2="35742" y2="2721"/>
                        <a14:backgroundMark x1="33008" y1="3401" x2="34375" y2="3061"/>
                        <a14:backgroundMark x1="29688" y1="9184" x2="32617" y2="4082"/>
                        <a14:backgroundMark x1="73438" y1="97279" x2="89063" y2="85034"/>
                        <a14:backgroundMark x1="66602" y1="98639" x2="73047" y2="93537"/>
                        <a14:backgroundMark x1="70018" y1="974" x2="75781" y2="340"/>
                        <a14:backgroundMark x1="75781" y1="340" x2="78125" y2="34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41003" y="1133056"/>
            <a:ext cx="2773289" cy="1592474"/>
          </a:xfrm>
          <a:prstGeom prst="rect">
            <a:avLst/>
          </a:prstGeom>
        </p:spPr>
      </p:pic>
      <p:sp>
        <p:nvSpPr>
          <p:cNvPr id="4109" name="TextBox 4108">
            <a:extLst>
              <a:ext uri="{FF2B5EF4-FFF2-40B4-BE49-F238E27FC236}">
                <a16:creationId xmlns:a16="http://schemas.microsoft.com/office/drawing/2014/main" id="{90E97F8D-C285-5328-7132-CAB94844B74D}"/>
              </a:ext>
            </a:extLst>
          </p:cNvPr>
          <p:cNvSpPr txBox="1"/>
          <p:nvPr/>
        </p:nvSpPr>
        <p:spPr>
          <a:xfrm>
            <a:off x="1195754" y="3373331"/>
            <a:ext cx="2127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C STATE CONTRACT</a:t>
            </a:r>
          </a:p>
        </p:txBody>
      </p:sp>
      <p:sp>
        <p:nvSpPr>
          <p:cNvPr id="4110" name="Title 1">
            <a:extLst>
              <a:ext uri="{FF2B5EF4-FFF2-40B4-BE49-F238E27FC236}">
                <a16:creationId xmlns:a16="http://schemas.microsoft.com/office/drawing/2014/main" id="{47AEB345-2890-3BAE-FA31-35A2C664A2D7}"/>
              </a:ext>
            </a:extLst>
          </p:cNvPr>
          <p:cNvSpPr txBox="1">
            <a:spLocks/>
          </p:cNvSpPr>
          <p:nvPr/>
        </p:nvSpPr>
        <p:spPr>
          <a:xfrm>
            <a:off x="195658" y="170671"/>
            <a:ext cx="7731485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BUYING POWER</a:t>
            </a:r>
          </a:p>
        </p:txBody>
      </p:sp>
    </p:spTree>
    <p:extLst>
      <p:ext uri="{BB962C8B-B14F-4D97-AF65-F5344CB8AC3E}">
        <p14:creationId xmlns:p14="http://schemas.microsoft.com/office/powerpoint/2010/main" val="409158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9">
            <a:extLst>
              <a:ext uri="{FF2B5EF4-FFF2-40B4-BE49-F238E27FC236}">
                <a16:creationId xmlns:a16="http://schemas.microsoft.com/office/drawing/2014/main" id="{BB68FFB2-9F00-673A-685B-3CC710AC0305}"/>
              </a:ext>
            </a:extLst>
          </p:cNvPr>
          <p:cNvSpPr/>
          <p:nvPr/>
        </p:nvSpPr>
        <p:spPr>
          <a:xfrm>
            <a:off x="1" y="0"/>
            <a:ext cx="3498111" cy="6857997"/>
          </a:xfrm>
          <a:prstGeom prst="roundRect">
            <a:avLst>
              <a:gd name="adj" fmla="val 0"/>
            </a:avLst>
          </a:prstGeom>
          <a:solidFill>
            <a:srgbClr val="00383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2EFE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FED1D03-4692-8F92-EB47-44A38C6F13F7}"/>
              </a:ext>
            </a:extLst>
          </p:cNvPr>
          <p:cNvGrpSpPr/>
          <p:nvPr/>
        </p:nvGrpSpPr>
        <p:grpSpPr>
          <a:xfrm>
            <a:off x="516777" y="6064622"/>
            <a:ext cx="11168718" cy="556320"/>
            <a:chOff x="516777" y="5970494"/>
            <a:chExt cx="11168718" cy="55631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9C0FD9F-E383-BF46-C0DC-EF97BAA89DA3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962996B3-B969-354A-B7D2-751982DAD3F2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43BC5A7-9756-6BEA-F715-0011094354F7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B6CCED7-F200-F5D4-FFFF-6DBDC183E55B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597049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A1724D99-980E-CDAB-995F-F310E2964C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15" y="6182570"/>
            <a:ext cx="1735969" cy="57865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62314D-8AA8-2B2C-112F-3447AE2EB9F2}"/>
              </a:ext>
            </a:extLst>
          </p:cNvPr>
          <p:cNvSpPr txBox="1"/>
          <p:nvPr/>
        </p:nvSpPr>
        <p:spPr>
          <a:xfrm>
            <a:off x="63797" y="3120190"/>
            <a:ext cx="3387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300" normalizeH="0" baseline="0" noProof="0" dirty="0">
                <a:ln>
                  <a:noFill/>
                </a:ln>
                <a:solidFill>
                  <a:srgbClr val="F2EFE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DAY’S GOAL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C863920-35A6-69F3-349C-94F18E462A38}"/>
              </a:ext>
            </a:extLst>
          </p:cNvPr>
          <p:cNvSpPr txBox="1">
            <a:spLocks/>
          </p:cNvSpPr>
          <p:nvPr/>
        </p:nvSpPr>
        <p:spPr>
          <a:xfrm>
            <a:off x="4356814" y="1525479"/>
            <a:ext cx="7240341" cy="3807042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en-US" sz="1700" b="1" spc="100" dirty="0">
                <a:solidFill>
                  <a:srgbClr val="005558"/>
                </a:solidFill>
                <a:latin typeface="Arial"/>
                <a:ea typeface="DIN Condensed" panose="020B0606040000020204" pitchFamily="34" charset="77"/>
                <a:cs typeface="Arial"/>
              </a:rPr>
              <a:t>OVERVIEW</a:t>
            </a:r>
            <a:endParaRPr kumimoji="0" lang="en-US" sz="1700" b="1" i="0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/>
              <a:ea typeface="DIN Condensed" panose="020B0606040000020204" pitchFamily="34" charset="77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1" i="0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en-US" sz="1700" b="1" spc="100" dirty="0">
                <a:solidFill>
                  <a:srgbClr val="005558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FUNDING OPTIONS EXPLAINED</a:t>
            </a:r>
            <a:endParaRPr kumimoji="0" lang="en-US" sz="1700" b="1" i="0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1" i="1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1" i="0" u="none" strike="noStrike" kern="1200" cap="none" spc="100" normalizeH="0" baseline="0" noProof="0" dirty="0">
                <a:ln>
                  <a:noFill/>
                </a:ln>
                <a:solidFill>
                  <a:srgbClr val="005558"/>
                </a:solidFill>
                <a:effectLst/>
                <a:uLnTx/>
                <a:uFillTx/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IMPACT ON TCO</a:t>
            </a: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1" i="0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1" i="0" u="none" strike="noStrike" kern="1200" cap="none" spc="100" normalizeH="0" baseline="0" noProof="0" dirty="0">
                <a:ln>
                  <a:noFill/>
                </a:ln>
                <a:solidFill>
                  <a:srgbClr val="005558"/>
                </a:solidFill>
                <a:effectLst/>
                <a:uLnTx/>
                <a:uFillTx/>
                <a:latin typeface="Arial"/>
                <a:ea typeface="DIN Condensed" panose="020B0606040000020204" pitchFamily="34" charset="77"/>
                <a:cs typeface="Arial"/>
              </a:rPr>
              <a:t>EXAMPLES</a:t>
            </a: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1" i="0" u="none" strike="noStrike" kern="1200" cap="none" spc="100" normalizeH="0" baseline="0" noProof="0" dirty="0">
              <a:ln>
                <a:noFill/>
              </a:ln>
              <a:solidFill>
                <a:srgbClr val="005558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ts val="2900"/>
              </a:lnSpc>
              <a:spcBef>
                <a:spcPct val="0"/>
              </a:spcBef>
              <a:spcAft>
                <a:spcPts val="0"/>
              </a:spcAft>
              <a:buClr>
                <a:srgbClr val="00A663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1" i="0" u="none" strike="noStrike" kern="1200" cap="none" spc="100" normalizeH="0" baseline="0" noProof="0" dirty="0">
                <a:ln>
                  <a:noFill/>
                </a:ln>
                <a:solidFill>
                  <a:srgbClr val="005558"/>
                </a:solidFill>
                <a:effectLst/>
                <a:uLnTx/>
                <a:uFillTx/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QUESTION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47294F2-F6D9-345B-8637-AF3FCACE48B6}"/>
              </a:ext>
            </a:extLst>
          </p:cNvPr>
          <p:cNvGrpSpPr/>
          <p:nvPr/>
        </p:nvGrpSpPr>
        <p:grpSpPr>
          <a:xfrm>
            <a:off x="4702859" y="2113435"/>
            <a:ext cx="5961597" cy="2222205"/>
            <a:chOff x="4702859" y="2113435"/>
            <a:chExt cx="6982636" cy="222220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188CF90-9DB4-85BD-F5C0-371AFEAF0D1B}"/>
                </a:ext>
              </a:extLst>
            </p:cNvPr>
            <p:cNvCxnSpPr>
              <a:cxnSpLocks/>
            </p:cNvCxnSpPr>
            <p:nvPr/>
          </p:nvCxnSpPr>
          <p:spPr>
            <a:xfrm>
              <a:off x="4702859" y="2113435"/>
              <a:ext cx="6982636" cy="0"/>
            </a:xfrm>
            <a:prstGeom prst="line">
              <a:avLst/>
            </a:prstGeom>
            <a:ln>
              <a:solidFill>
                <a:srgbClr val="3CB58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848D35C-18D8-4D7E-515D-A68711AABCF3}"/>
                </a:ext>
              </a:extLst>
            </p:cNvPr>
            <p:cNvCxnSpPr>
              <a:cxnSpLocks/>
            </p:cNvCxnSpPr>
            <p:nvPr/>
          </p:nvCxnSpPr>
          <p:spPr>
            <a:xfrm>
              <a:off x="4702859" y="2854170"/>
              <a:ext cx="6982636" cy="0"/>
            </a:xfrm>
            <a:prstGeom prst="line">
              <a:avLst/>
            </a:prstGeom>
            <a:ln>
              <a:solidFill>
                <a:srgbClr val="3CB58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A727F2C-481E-51D7-E010-7C0B35C4667D}"/>
                </a:ext>
              </a:extLst>
            </p:cNvPr>
            <p:cNvCxnSpPr>
              <a:cxnSpLocks/>
            </p:cNvCxnSpPr>
            <p:nvPr/>
          </p:nvCxnSpPr>
          <p:spPr>
            <a:xfrm>
              <a:off x="4702859" y="3594905"/>
              <a:ext cx="6982636" cy="0"/>
            </a:xfrm>
            <a:prstGeom prst="line">
              <a:avLst/>
            </a:prstGeom>
            <a:ln>
              <a:solidFill>
                <a:srgbClr val="3CB58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482C026-3968-508D-41F5-50AD6059D5BA}"/>
                </a:ext>
              </a:extLst>
            </p:cNvPr>
            <p:cNvCxnSpPr>
              <a:cxnSpLocks/>
            </p:cNvCxnSpPr>
            <p:nvPr/>
          </p:nvCxnSpPr>
          <p:spPr>
            <a:xfrm>
              <a:off x="4702859" y="4335640"/>
              <a:ext cx="6982636" cy="0"/>
            </a:xfrm>
            <a:prstGeom prst="line">
              <a:avLst/>
            </a:prstGeom>
            <a:ln>
              <a:solidFill>
                <a:srgbClr val="3CB58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447177AC-D0A0-5B60-CB79-4B0376B9F295}"/>
              </a:ext>
            </a:extLst>
          </p:cNvPr>
          <p:cNvSpPr/>
          <p:nvPr/>
        </p:nvSpPr>
        <p:spPr>
          <a:xfrm>
            <a:off x="1116418" y="1670211"/>
            <a:ext cx="1265275" cy="1265275"/>
          </a:xfrm>
          <a:prstGeom prst="ellipse">
            <a:avLst/>
          </a:prstGeom>
          <a:solidFill>
            <a:srgbClr val="00A66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2EFE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Graphic 22" descr="Clipboard Checked outline">
            <a:extLst>
              <a:ext uri="{FF2B5EF4-FFF2-40B4-BE49-F238E27FC236}">
                <a16:creationId xmlns:a16="http://schemas.microsoft.com/office/drawing/2014/main" id="{60ADBE05-AF67-3569-FCEB-E856314265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00501" y="183303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6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OST OF OWNERSHI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54CF045F-C1BC-31AB-F3C1-FDE41EE38D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4096184"/>
              </p:ext>
            </p:extLst>
          </p:nvPr>
        </p:nvGraphicFramePr>
        <p:xfrm>
          <a:off x="208322" y="2236359"/>
          <a:ext cx="9745444" cy="4899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C97D6B1-2893-9318-709B-631DB2A4EBCD}"/>
              </a:ext>
            </a:extLst>
          </p:cNvPr>
          <p:cNvSpPr/>
          <p:nvPr/>
        </p:nvSpPr>
        <p:spPr>
          <a:xfrm>
            <a:off x="9161087" y="3805634"/>
            <a:ext cx="2489162" cy="1582292"/>
          </a:xfrm>
          <a:prstGeom prst="rect">
            <a:avLst/>
          </a:prstGeom>
          <a:solidFill>
            <a:sysClr val="window" lastClr="FFFFFF">
              <a:alpha val="80000"/>
            </a:sysClr>
          </a:solidFill>
          <a:ln w="9525" cap="flat" cmpd="sng" algn="ctr">
            <a:solidFill>
              <a:srgbClr val="00713A"/>
            </a:solidFill>
            <a:prstDash val="solid"/>
          </a:ln>
          <a:effectLst/>
        </p:spPr>
        <p:txBody>
          <a:bodyPr rtlCol="0" anchor="t" anchorCtr="0"/>
          <a:lstStyle/>
          <a:p>
            <a:pPr marL="140970">
              <a:defRPr/>
            </a:pPr>
            <a:endParaRPr lang="en-US" sz="1200" kern="0" dirty="0">
              <a:solidFill>
                <a:prstClr val="black"/>
              </a:solidFill>
              <a:latin typeface="Calibri"/>
            </a:endParaRPr>
          </a:p>
          <a:p>
            <a:pPr marL="342900" indent="-20193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/>
              </a:rPr>
              <a:t>Analysis assumes identical invoice cost</a:t>
            </a:r>
          </a:p>
          <a:p>
            <a:pPr marL="342900" indent="-20193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/>
              </a:rPr>
              <a:t>Lease Option assumes (2) 60 month/ 37,500 mile Equity Leases (10 total years)</a:t>
            </a:r>
          </a:p>
          <a:p>
            <a:pPr marL="342900" indent="-20193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  <a:latin typeface="Calibri"/>
              </a:rPr>
              <a:t>Cash Option assumes purchase and hold for 10 years.</a:t>
            </a:r>
          </a:p>
          <a:p>
            <a:pPr>
              <a:defRPr/>
            </a:pPr>
            <a:endParaRPr lang="en-US" sz="12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83ABEC-FED3-BCA3-FA7C-21986DB07F8C}"/>
              </a:ext>
            </a:extLst>
          </p:cNvPr>
          <p:cNvSpPr/>
          <p:nvPr/>
        </p:nvSpPr>
        <p:spPr>
          <a:xfrm>
            <a:off x="9157643" y="3785376"/>
            <a:ext cx="2492606" cy="226540"/>
          </a:xfrm>
          <a:prstGeom prst="rect">
            <a:avLst/>
          </a:prstGeom>
          <a:solidFill>
            <a:srgbClr val="07985C"/>
          </a:solidFill>
          <a:ln w="9525" cap="flat" cmpd="sng" algn="ctr">
            <a:solidFill>
              <a:srgbClr val="00713A"/>
            </a:solidFill>
            <a:prstDash val="solid"/>
          </a:ln>
          <a:effectLst/>
        </p:spPr>
        <p:txBody>
          <a:bodyPr lIns="109728" rtlCol="0" anchor="ctr" anchorCtr="0"/>
          <a:lstStyle/>
          <a:p>
            <a:pPr algn="ctr" defTabSz="609493">
              <a:defRPr/>
            </a:pPr>
            <a:r>
              <a:rPr lang="en-US" sz="1200" b="1" kern="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Key Observations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F69C3796-58A4-AB5B-5ACC-49B7CF36B7EB}"/>
              </a:ext>
            </a:extLst>
          </p:cNvPr>
          <p:cNvSpPr txBox="1"/>
          <p:nvPr/>
        </p:nvSpPr>
        <p:spPr>
          <a:xfrm>
            <a:off x="1445464" y="1271883"/>
            <a:ext cx="9050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609493"/>
            <a:r>
              <a:rPr lang="en-US" sz="1800" b="1" dirty="0">
                <a:solidFill>
                  <a:prstClr val="black"/>
                </a:solidFill>
                <a:cs typeface="Arial"/>
              </a:rPr>
              <a:t>TOTAL COST OF BUY &amp; HOLD FOR A </a:t>
            </a:r>
            <a:r>
              <a:rPr lang="en-US" sz="1800" b="1" dirty="0">
                <a:solidFill>
                  <a:srgbClr val="F79646"/>
                </a:solidFill>
                <a:cs typeface="Arial"/>
              </a:rPr>
              <a:t>Ford F-150 XL Crew Cab 4x4</a:t>
            </a:r>
          </a:p>
          <a:p>
            <a:pPr algn="ctr" defTabSz="609493"/>
            <a:r>
              <a:rPr lang="en-US" sz="1800" b="1" i="1" dirty="0">
                <a:solidFill>
                  <a:srgbClr val="00B050"/>
                </a:solidFill>
                <a:cs typeface="Arial"/>
              </a:rPr>
              <a:t>Comparing (2) Equity Leases to (1) Pay Cash &amp; Hold over a </a:t>
            </a:r>
            <a:r>
              <a:rPr lang="en-US" sz="1800" b="1" i="1" u="sng" dirty="0">
                <a:solidFill>
                  <a:srgbClr val="00B050"/>
                </a:solidFill>
                <a:cs typeface="Arial"/>
              </a:rPr>
              <a:t>10 year perio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2D0F46C-C09D-0F39-779E-AD2562B649E3}"/>
              </a:ext>
            </a:extLst>
          </p:cNvPr>
          <p:cNvSpPr/>
          <p:nvPr/>
        </p:nvSpPr>
        <p:spPr>
          <a:xfrm>
            <a:off x="4448607" y="3218321"/>
            <a:ext cx="1852121" cy="2806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9542"/>
            </a:solidFill>
            <a:prstDash val="solid"/>
          </a:ln>
          <a:effectLst>
            <a:outerShdw blurRad="63500" dist="63500" dir="2700000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548690">
              <a:defRPr/>
            </a:pPr>
            <a:r>
              <a:rPr lang="en-US" sz="1620" b="1" kern="0" dirty="0">
                <a:solidFill>
                  <a:srgbClr val="07985C"/>
                </a:solidFill>
                <a:latin typeface="Calibri"/>
                <a:cs typeface="Arial" panose="020B0604020202020204" pitchFamily="34" charset="0"/>
              </a:rPr>
              <a:t>$8,50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595A5E-8432-3345-157C-9553E77C06DC}"/>
              </a:ext>
            </a:extLst>
          </p:cNvPr>
          <p:cNvSpPr/>
          <p:nvPr/>
        </p:nvSpPr>
        <p:spPr>
          <a:xfrm>
            <a:off x="6421766" y="3218321"/>
            <a:ext cx="2045666" cy="280642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63500" dist="63500" dir="2700000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548690">
              <a:defRPr/>
            </a:pPr>
            <a:r>
              <a:rPr lang="en-US" sz="162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Arial" panose="020B0604020202020204" pitchFamily="34" charset="0"/>
              </a:rPr>
              <a:t>$7,073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24E7F0-B092-ADEF-F49B-AB32D53184EC}"/>
              </a:ext>
            </a:extLst>
          </p:cNvPr>
          <p:cNvSpPr/>
          <p:nvPr/>
        </p:nvSpPr>
        <p:spPr>
          <a:xfrm>
            <a:off x="1743369" y="3218321"/>
            <a:ext cx="2591703" cy="280642"/>
          </a:xfrm>
          <a:prstGeom prst="rect">
            <a:avLst/>
          </a:prstGeom>
          <a:solidFill>
            <a:sysClr val="windowText" lastClr="000000"/>
          </a:solidFill>
          <a:ln w="9525" cap="flat" cmpd="sng" algn="ctr">
            <a:solidFill>
              <a:sysClr val="windowText" lastClr="000000"/>
            </a:solidFill>
            <a:prstDash val="solid"/>
          </a:ln>
          <a:effectLst>
            <a:outerShdw blurRad="63500" dist="63500" dir="2700000" rotWithShape="0">
              <a:srgbClr val="000000">
                <a:alpha val="20000"/>
              </a:srgbClr>
            </a:outerShdw>
          </a:effectLst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548690">
              <a:defRPr/>
            </a:pPr>
            <a:r>
              <a:rPr lang="en-US" sz="1260" b="1" kern="0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Average Annual Spen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262D040-1944-F52C-C144-F9D11B7DB2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08304" y="2059303"/>
            <a:ext cx="2775719" cy="1595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65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OST OF OWNERSHI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4631760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NET PRESENT VALUE OVER 10 YEA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2238ED61-14F9-4890-BEA7-B79A59F2DD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511" y="1158195"/>
            <a:ext cx="11580978" cy="5298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21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OST OF OWNERSHI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4631760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NET PRESENT VALUE OVER 10 YEA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EA1F4694-2EED-48E4-268C-19DBEC3D74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90252"/>
            <a:ext cx="12048325" cy="454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52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98115" y="168073"/>
            <a:ext cx="6951406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 SAFE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615489" y="657459"/>
            <a:ext cx="6031496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BENEFITS OF CRASH AVOIDANCE TECHNOLOG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266548E-11CF-4DC3-0406-841784989C92}"/>
              </a:ext>
            </a:extLst>
          </p:cNvPr>
          <p:cNvGrpSpPr/>
          <p:nvPr/>
        </p:nvGrpSpPr>
        <p:grpSpPr>
          <a:xfrm>
            <a:off x="1336504" y="1419978"/>
            <a:ext cx="5018020" cy="4438986"/>
            <a:chOff x="328559" y="722817"/>
            <a:chExt cx="6616063" cy="369114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DB48ABB-0A99-A4B0-4454-9E0B5DDEE536}"/>
                </a:ext>
              </a:extLst>
            </p:cNvPr>
            <p:cNvSpPr txBox="1"/>
            <p:nvPr/>
          </p:nvSpPr>
          <p:spPr>
            <a:xfrm>
              <a:off x="328559" y="722817"/>
              <a:ext cx="6388769" cy="281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Forward Collison Warning plus Autobrake - 2018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285C369-6426-2ACF-AB79-9DE8C77F0AAA}"/>
                </a:ext>
              </a:extLst>
            </p:cNvPr>
            <p:cNvSpPr txBox="1"/>
            <p:nvPr/>
          </p:nvSpPr>
          <p:spPr>
            <a:xfrm>
              <a:off x="328559" y="3621217"/>
              <a:ext cx="5666236" cy="281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Lane Departure Warning - 2012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E93E55D-6FC5-5D2E-B02F-CE62DB797909}"/>
                </a:ext>
              </a:extLst>
            </p:cNvPr>
            <p:cNvSpPr txBox="1"/>
            <p:nvPr/>
          </p:nvSpPr>
          <p:spPr>
            <a:xfrm>
              <a:off x="328559" y="1965991"/>
              <a:ext cx="3176336" cy="281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Blind Spot Detection - 2018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476D49C-F776-9A9C-C1A0-217FFC588B4B}"/>
                </a:ext>
              </a:extLst>
            </p:cNvPr>
            <p:cNvSpPr txBox="1"/>
            <p:nvPr/>
          </p:nvSpPr>
          <p:spPr>
            <a:xfrm>
              <a:off x="328559" y="2745154"/>
              <a:ext cx="5585153" cy="281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Rear Automatic Braking - 2016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B8852C2-FB09-4415-4F0E-083F76BE1536}"/>
                </a:ext>
              </a:extLst>
            </p:cNvPr>
            <p:cNvSpPr txBox="1"/>
            <p:nvPr/>
          </p:nvSpPr>
          <p:spPr>
            <a:xfrm>
              <a:off x="555853" y="974327"/>
              <a:ext cx="6388769" cy="895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50%     Front-to-rear crashes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56%     Front-to-rear crashes with injuries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23%     Claim rates for injuries to other people in vehicles 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13%     Claim rates for damage to other vehicles </a:t>
              </a:r>
            </a:p>
          </p:txBody>
        </p:sp>
        <p:sp>
          <p:nvSpPr>
            <p:cNvPr id="15" name="Flowchart: Merge 14">
              <a:extLst>
                <a:ext uri="{FF2B5EF4-FFF2-40B4-BE49-F238E27FC236}">
                  <a16:creationId xmlns:a16="http://schemas.microsoft.com/office/drawing/2014/main" id="{E1ECFCF4-DF3D-1175-0D02-1A59BF26D8D6}"/>
                </a:ext>
              </a:extLst>
            </p:cNvPr>
            <p:cNvSpPr/>
            <p:nvPr/>
          </p:nvSpPr>
          <p:spPr>
            <a:xfrm>
              <a:off x="410472" y="1059062"/>
              <a:ext cx="172452" cy="144374"/>
            </a:xfrm>
            <a:prstGeom prst="flowChartMerge">
              <a:avLst/>
            </a:prstGeom>
            <a:solidFill>
              <a:srgbClr val="007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Flowchart: Merge 15">
              <a:extLst>
                <a:ext uri="{FF2B5EF4-FFF2-40B4-BE49-F238E27FC236}">
                  <a16:creationId xmlns:a16="http://schemas.microsoft.com/office/drawing/2014/main" id="{CBDC2BC3-D135-866B-205E-7F4A106BEAB5}"/>
                </a:ext>
              </a:extLst>
            </p:cNvPr>
            <p:cNvSpPr/>
            <p:nvPr/>
          </p:nvSpPr>
          <p:spPr>
            <a:xfrm>
              <a:off x="410472" y="1270542"/>
              <a:ext cx="172452" cy="144374"/>
            </a:xfrm>
            <a:prstGeom prst="flowChartMerge">
              <a:avLst/>
            </a:prstGeom>
            <a:solidFill>
              <a:srgbClr val="007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lowchart: Merge 16">
              <a:extLst>
                <a:ext uri="{FF2B5EF4-FFF2-40B4-BE49-F238E27FC236}">
                  <a16:creationId xmlns:a16="http://schemas.microsoft.com/office/drawing/2014/main" id="{AB88A6FA-7556-34F0-450D-FCBF46BD2B63}"/>
                </a:ext>
              </a:extLst>
            </p:cNvPr>
            <p:cNvSpPr/>
            <p:nvPr/>
          </p:nvSpPr>
          <p:spPr>
            <a:xfrm>
              <a:off x="410472" y="1483010"/>
              <a:ext cx="172452" cy="144374"/>
            </a:xfrm>
            <a:prstGeom prst="flowChartMerge">
              <a:avLst/>
            </a:prstGeom>
            <a:solidFill>
              <a:srgbClr val="007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lowchart: Merge 17">
              <a:extLst>
                <a:ext uri="{FF2B5EF4-FFF2-40B4-BE49-F238E27FC236}">
                  <a16:creationId xmlns:a16="http://schemas.microsoft.com/office/drawing/2014/main" id="{4DAF4A46-C3C7-504C-D693-4009163FE6AA}"/>
                </a:ext>
              </a:extLst>
            </p:cNvPr>
            <p:cNvSpPr/>
            <p:nvPr/>
          </p:nvSpPr>
          <p:spPr>
            <a:xfrm>
              <a:off x="410472" y="1692235"/>
              <a:ext cx="172452" cy="144374"/>
            </a:xfrm>
            <a:prstGeom prst="flowChartMerge">
              <a:avLst/>
            </a:prstGeom>
            <a:solidFill>
              <a:srgbClr val="007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953379A-1F4B-0594-BD82-7ED24140AB28}"/>
                </a:ext>
              </a:extLst>
            </p:cNvPr>
            <p:cNvSpPr txBox="1"/>
            <p:nvPr/>
          </p:nvSpPr>
          <p:spPr>
            <a:xfrm>
              <a:off x="555853" y="3928085"/>
              <a:ext cx="6388769" cy="485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11%     Single-vehicle, sideswipe and head-on crashes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21%     Injury crashes of the same type</a:t>
              </a:r>
            </a:p>
          </p:txBody>
        </p:sp>
        <p:sp>
          <p:nvSpPr>
            <p:cNvPr id="20" name="Flowchart: Merge 19">
              <a:extLst>
                <a:ext uri="{FF2B5EF4-FFF2-40B4-BE49-F238E27FC236}">
                  <a16:creationId xmlns:a16="http://schemas.microsoft.com/office/drawing/2014/main" id="{B2B22F4D-B187-4A83-E3B6-D1DA1F43A6D8}"/>
                </a:ext>
              </a:extLst>
            </p:cNvPr>
            <p:cNvSpPr/>
            <p:nvPr/>
          </p:nvSpPr>
          <p:spPr>
            <a:xfrm>
              <a:off x="410472" y="2342686"/>
              <a:ext cx="172452" cy="144375"/>
            </a:xfrm>
            <a:prstGeom prst="flowChartMerge">
              <a:avLst/>
            </a:prstGeom>
            <a:solidFill>
              <a:srgbClr val="008C4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lowchart: Merge 20">
              <a:extLst>
                <a:ext uri="{FF2B5EF4-FFF2-40B4-BE49-F238E27FC236}">
                  <a16:creationId xmlns:a16="http://schemas.microsoft.com/office/drawing/2014/main" id="{E4A93E38-87DF-66F0-1CF4-1BAAF1AC284A}"/>
                </a:ext>
              </a:extLst>
            </p:cNvPr>
            <p:cNvSpPr/>
            <p:nvPr/>
          </p:nvSpPr>
          <p:spPr>
            <a:xfrm>
              <a:off x="410472" y="2557083"/>
              <a:ext cx="172452" cy="144375"/>
            </a:xfrm>
            <a:prstGeom prst="flowChartMerge">
              <a:avLst/>
            </a:prstGeom>
            <a:solidFill>
              <a:srgbClr val="008C4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D0E2921-C1A5-0481-8150-F7D20BE72DBB}"/>
                </a:ext>
              </a:extLst>
            </p:cNvPr>
            <p:cNvSpPr txBox="1"/>
            <p:nvPr/>
          </p:nvSpPr>
          <p:spPr>
            <a:xfrm>
              <a:off x="555853" y="2221935"/>
              <a:ext cx="6388769" cy="485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14%     Lane-change crashes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23%     Lane-change crashes with injur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B5C6D66-A48C-32E4-FE4B-2A57C42CD26B}"/>
                </a:ext>
              </a:extLst>
            </p:cNvPr>
            <p:cNvSpPr txBox="1"/>
            <p:nvPr/>
          </p:nvSpPr>
          <p:spPr>
            <a:xfrm>
              <a:off x="555853" y="3040513"/>
              <a:ext cx="6388769" cy="485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62%     Backing crashes</a:t>
              </a:r>
            </a:p>
            <a:p>
              <a:pPr marL="0" marR="0" lvl="0" indent="0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333"/>
                </a:buClr>
                <a:buSzPct val="101000"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cs typeface="Arial" panose="020B0604020202020204" pitchFamily="34" charset="0"/>
                </a:rPr>
                <a:t>30%     Claim rates for damage to other vehicles </a:t>
              </a:r>
            </a:p>
          </p:txBody>
        </p:sp>
        <p:sp>
          <p:nvSpPr>
            <p:cNvPr id="24" name="Flowchart: Merge 23">
              <a:extLst>
                <a:ext uri="{FF2B5EF4-FFF2-40B4-BE49-F238E27FC236}">
                  <a16:creationId xmlns:a16="http://schemas.microsoft.com/office/drawing/2014/main" id="{67C180C5-17F6-65A5-C0FF-2C6193F221E0}"/>
                </a:ext>
              </a:extLst>
            </p:cNvPr>
            <p:cNvSpPr/>
            <p:nvPr/>
          </p:nvSpPr>
          <p:spPr>
            <a:xfrm>
              <a:off x="410471" y="3142978"/>
              <a:ext cx="172452" cy="144375"/>
            </a:xfrm>
            <a:prstGeom prst="flowChartMerge">
              <a:avLst/>
            </a:prstGeom>
            <a:solidFill>
              <a:srgbClr val="00AB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5" name="Flowchart: Merge 24">
              <a:extLst>
                <a:ext uri="{FF2B5EF4-FFF2-40B4-BE49-F238E27FC236}">
                  <a16:creationId xmlns:a16="http://schemas.microsoft.com/office/drawing/2014/main" id="{FB37311F-3225-728F-7181-32790076D787}"/>
                </a:ext>
              </a:extLst>
            </p:cNvPr>
            <p:cNvSpPr/>
            <p:nvPr/>
          </p:nvSpPr>
          <p:spPr>
            <a:xfrm>
              <a:off x="410472" y="3362867"/>
              <a:ext cx="172452" cy="144374"/>
            </a:xfrm>
            <a:prstGeom prst="flowChartMerge">
              <a:avLst/>
            </a:prstGeom>
            <a:solidFill>
              <a:srgbClr val="00AB5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lowchart: Merge 25">
              <a:extLst>
                <a:ext uri="{FF2B5EF4-FFF2-40B4-BE49-F238E27FC236}">
                  <a16:creationId xmlns:a16="http://schemas.microsoft.com/office/drawing/2014/main" id="{80B76002-5E61-419A-9B32-A1A8C257830B}"/>
                </a:ext>
              </a:extLst>
            </p:cNvPr>
            <p:cNvSpPr/>
            <p:nvPr/>
          </p:nvSpPr>
          <p:spPr>
            <a:xfrm>
              <a:off x="420453" y="4019041"/>
              <a:ext cx="172452" cy="144375"/>
            </a:xfrm>
            <a:prstGeom prst="flowChartMerge">
              <a:avLst/>
            </a:prstGeom>
            <a:solidFill>
              <a:srgbClr val="03C38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7" name="Flowchart: Merge 26">
              <a:extLst>
                <a:ext uri="{FF2B5EF4-FFF2-40B4-BE49-F238E27FC236}">
                  <a16:creationId xmlns:a16="http://schemas.microsoft.com/office/drawing/2014/main" id="{A79571BF-3E89-1616-E505-F7EC61727B56}"/>
                </a:ext>
              </a:extLst>
            </p:cNvPr>
            <p:cNvSpPr/>
            <p:nvPr/>
          </p:nvSpPr>
          <p:spPr>
            <a:xfrm>
              <a:off x="410472" y="4248331"/>
              <a:ext cx="172452" cy="144375"/>
            </a:xfrm>
            <a:prstGeom prst="flowChartMerge">
              <a:avLst/>
            </a:prstGeom>
            <a:solidFill>
              <a:srgbClr val="03C38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35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9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49859A6D-2EE8-80D4-F3CA-BEB0C92BB50D}"/>
              </a:ext>
            </a:extLst>
          </p:cNvPr>
          <p:cNvSpPr/>
          <p:nvPr/>
        </p:nvSpPr>
        <p:spPr>
          <a:xfrm>
            <a:off x="1288746" y="1336767"/>
            <a:ext cx="4609129" cy="4647112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35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7" b="0" i="0" u="none" strike="noStrike" kern="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9" name="Rectangle 16">
            <a:extLst>
              <a:ext uri="{FF2B5EF4-FFF2-40B4-BE49-F238E27FC236}">
                <a16:creationId xmlns:a16="http://schemas.microsoft.com/office/drawing/2014/main" id="{CD948F45-417D-6452-206C-3DBD6F02D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6985" y="0"/>
            <a:ext cx="5519736" cy="6852644"/>
          </a:xfrm>
          <a:prstGeom prst="rect">
            <a:avLst/>
          </a:prstGeom>
          <a:solidFill>
            <a:srgbClr val="007236">
              <a:alpha val="7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121" charset="-128"/>
              </a:defRPr>
            </a:lvl9pPr>
          </a:lstStyle>
          <a:p>
            <a:pPr algn="ctr" defTabSz="91355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797">
              <a:solidFill>
                <a:srgbClr val="FFFFFF"/>
              </a:solidFill>
              <a:latin typeface="Arial Narrow" panose="020B0606020202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A89CD92-24D8-4B37-5550-8DDFD390B5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3583" y="238294"/>
            <a:ext cx="2064426" cy="68814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406A7C41-F4C9-8FC2-9F7E-1AFA8132751E}"/>
              </a:ext>
            </a:extLst>
          </p:cNvPr>
          <p:cNvSpPr txBox="1"/>
          <p:nvPr/>
        </p:nvSpPr>
        <p:spPr>
          <a:xfrm>
            <a:off x="7575456" y="1171081"/>
            <a:ext cx="3837204" cy="368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372">
              <a:defRPr/>
            </a:pPr>
            <a:r>
              <a:rPr lang="en-US" sz="1797" b="1" u="sng" spc="151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Notable Standard Safety Featur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FA16D9D-9122-8C01-E053-C468F26BD1B9}"/>
              </a:ext>
            </a:extLst>
          </p:cNvPr>
          <p:cNvSpPr txBox="1"/>
          <p:nvPr/>
        </p:nvSpPr>
        <p:spPr>
          <a:xfrm>
            <a:off x="7449521" y="1736640"/>
            <a:ext cx="415459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387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ire Pressure Monitoring Systems (TPMS)</a:t>
            </a:r>
          </a:p>
          <a:p>
            <a:pPr marL="837426" lvl="1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dated as standard equipment on all new vehicles after 2007</a:t>
            </a:r>
          </a:p>
          <a:p>
            <a:pPr defTabSz="913578">
              <a:defRPr/>
            </a:pPr>
            <a:endParaRPr lang="en-US" sz="1600" dirty="0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28387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dvanced Air Bags</a:t>
            </a:r>
          </a:p>
          <a:p>
            <a:pPr marL="685587" lvl="1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dated as standard equipment on all new vehicles after 2007</a:t>
            </a:r>
          </a:p>
          <a:p>
            <a:pPr marL="685587" lvl="1" indent="-228387" defTabSz="913578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28387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lectronic Stability Controls (ESC)</a:t>
            </a:r>
          </a:p>
          <a:p>
            <a:pPr marL="837426" lvl="1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dated as standard equipment on all new vehicles after 2012</a:t>
            </a:r>
          </a:p>
          <a:p>
            <a:pPr marL="456789" lvl="1" defTabSz="913578">
              <a:defRPr/>
            </a:pPr>
            <a:endParaRPr lang="en-US" sz="1600" dirty="0">
              <a:solidFill>
                <a:prstClr val="white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28387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Backup Cameras</a:t>
            </a:r>
          </a:p>
          <a:p>
            <a:pPr marL="837426" lvl="1" indent="-228387" defTabSz="91357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white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andated as standard equipment on all new vehicles after 2018</a:t>
            </a:r>
          </a:p>
        </p:txBody>
      </p:sp>
    </p:spTree>
    <p:extLst>
      <p:ext uri="{BB962C8B-B14F-4D97-AF65-F5344CB8AC3E}">
        <p14:creationId xmlns:p14="http://schemas.microsoft.com/office/powerpoint/2010/main" val="2153095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5D4598-6A53-4B79-B361-822EA2CFFB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"/>
                    </a14:imgEffect>
                  </a14:imgLayer>
                </a14:imgProps>
              </a:ext>
            </a:extLst>
          </a:blip>
          <a:srcRect l="1378" r="465"/>
          <a:stretch/>
        </p:blipFill>
        <p:spPr>
          <a:xfrm>
            <a:off x="3176" y="1223218"/>
            <a:ext cx="12185651" cy="434782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95" y="122770"/>
            <a:ext cx="1811225" cy="603742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5D3CB5F-D500-4F02-8B63-2883A299D3EE}"/>
              </a:ext>
            </a:extLst>
          </p:cNvPr>
          <p:cNvSpPr/>
          <p:nvPr/>
        </p:nvSpPr>
        <p:spPr>
          <a:xfrm rot="1380000">
            <a:off x="6609159" y="998635"/>
            <a:ext cx="5092340" cy="488597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C60FC4B-FD06-43DC-AFF1-65AC5095364F}"/>
              </a:ext>
            </a:extLst>
          </p:cNvPr>
          <p:cNvSpPr/>
          <p:nvPr/>
        </p:nvSpPr>
        <p:spPr>
          <a:xfrm rot="2700000">
            <a:off x="6543721" y="1037390"/>
            <a:ext cx="5109624" cy="4885977"/>
          </a:xfrm>
          <a:prstGeom prst="roundRect">
            <a:avLst/>
          </a:prstGeom>
          <a:solidFill>
            <a:srgbClr val="00A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B2B4BE8-815C-47F4-9462-09FE2ABA066A}"/>
              </a:ext>
            </a:extLst>
          </p:cNvPr>
          <p:cNvSpPr/>
          <p:nvPr/>
        </p:nvSpPr>
        <p:spPr>
          <a:xfrm rot="20458057">
            <a:off x="6696041" y="1189710"/>
            <a:ext cx="5109624" cy="488597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8D283-C420-427B-AA1C-31D72D2F90DE}"/>
              </a:ext>
            </a:extLst>
          </p:cNvPr>
          <p:cNvSpPr txBox="1"/>
          <p:nvPr/>
        </p:nvSpPr>
        <p:spPr>
          <a:xfrm>
            <a:off x="6788611" y="3079255"/>
            <a:ext cx="4988501" cy="110799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Poppins" pitchFamily="2" charset="77"/>
              </a:rPr>
              <a:t>EXAMPLES</a:t>
            </a:r>
          </a:p>
        </p:txBody>
      </p:sp>
      <p:sp>
        <p:nvSpPr>
          <p:cNvPr id="56" name="Freeform 3">
            <a:extLst>
              <a:ext uri="{FF2B5EF4-FFF2-40B4-BE49-F238E27FC236}">
                <a16:creationId xmlns:a16="http://schemas.microsoft.com/office/drawing/2014/main" id="{55E9462C-9030-451C-98D5-11E64E8F1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199" y="5900127"/>
            <a:ext cx="448463" cy="650398"/>
          </a:xfrm>
          <a:custGeom>
            <a:avLst/>
            <a:gdLst>
              <a:gd name="connsiteX0" fmla="*/ 7029 w 377653"/>
              <a:gd name="connsiteY0" fmla="*/ 524585 h 547704"/>
              <a:gd name="connsiteX1" fmla="*/ 14058 w 377653"/>
              <a:gd name="connsiteY1" fmla="*/ 531361 h 547704"/>
              <a:gd name="connsiteX2" fmla="*/ 14058 w 377653"/>
              <a:gd name="connsiteY2" fmla="*/ 540928 h 547704"/>
              <a:gd name="connsiteX3" fmla="*/ 7029 w 377653"/>
              <a:gd name="connsiteY3" fmla="*/ 547704 h 547704"/>
              <a:gd name="connsiteX4" fmla="*/ 0 w 377653"/>
              <a:gd name="connsiteY4" fmla="*/ 540928 h 547704"/>
              <a:gd name="connsiteX5" fmla="*/ 0 w 377653"/>
              <a:gd name="connsiteY5" fmla="*/ 531361 h 547704"/>
              <a:gd name="connsiteX6" fmla="*/ 7029 w 377653"/>
              <a:gd name="connsiteY6" fmla="*/ 524585 h 547704"/>
              <a:gd name="connsiteX7" fmla="*/ 45138 w 377653"/>
              <a:gd name="connsiteY7" fmla="*/ 513120 h 547704"/>
              <a:gd name="connsiteX8" fmla="*/ 45138 w 377653"/>
              <a:gd name="connsiteY8" fmla="*/ 524588 h 547704"/>
              <a:gd name="connsiteX9" fmla="*/ 51714 w 377653"/>
              <a:gd name="connsiteY9" fmla="*/ 531550 h 547704"/>
              <a:gd name="connsiteX10" fmla="*/ 356691 w 377653"/>
              <a:gd name="connsiteY10" fmla="*/ 531550 h 547704"/>
              <a:gd name="connsiteX11" fmla="*/ 363267 w 377653"/>
              <a:gd name="connsiteY11" fmla="*/ 524588 h 547704"/>
              <a:gd name="connsiteX12" fmla="*/ 363267 w 377653"/>
              <a:gd name="connsiteY12" fmla="*/ 513120 h 547704"/>
              <a:gd name="connsiteX13" fmla="*/ 356691 w 377653"/>
              <a:gd name="connsiteY13" fmla="*/ 514349 h 547704"/>
              <a:gd name="connsiteX14" fmla="*/ 51714 w 377653"/>
              <a:gd name="connsiteY14" fmla="*/ 514349 h 547704"/>
              <a:gd name="connsiteX15" fmla="*/ 45138 w 377653"/>
              <a:gd name="connsiteY15" fmla="*/ 513120 h 547704"/>
              <a:gd name="connsiteX16" fmla="*/ 7029 w 377653"/>
              <a:gd name="connsiteY16" fmla="*/ 454039 h 547704"/>
              <a:gd name="connsiteX17" fmla="*/ 14058 w 377653"/>
              <a:gd name="connsiteY17" fmla="*/ 460963 h 547704"/>
              <a:gd name="connsiteX18" fmla="*/ 14058 w 377653"/>
              <a:gd name="connsiteY18" fmla="*/ 508210 h 547704"/>
              <a:gd name="connsiteX19" fmla="*/ 7029 w 377653"/>
              <a:gd name="connsiteY19" fmla="*/ 515134 h 547704"/>
              <a:gd name="connsiteX20" fmla="*/ 0 w 377653"/>
              <a:gd name="connsiteY20" fmla="*/ 508210 h 547704"/>
              <a:gd name="connsiteX21" fmla="*/ 0 w 377653"/>
              <a:gd name="connsiteY21" fmla="*/ 460963 h 547704"/>
              <a:gd name="connsiteX22" fmla="*/ 7029 w 377653"/>
              <a:gd name="connsiteY22" fmla="*/ 454039 h 547704"/>
              <a:gd name="connsiteX23" fmla="*/ 256626 w 377653"/>
              <a:gd name="connsiteY23" fmla="*/ 437758 h 547704"/>
              <a:gd name="connsiteX24" fmla="*/ 337685 w 377653"/>
              <a:gd name="connsiteY24" fmla="*/ 437758 h 547704"/>
              <a:gd name="connsiteX25" fmla="*/ 345092 w 377653"/>
              <a:gd name="connsiteY25" fmla="*/ 444591 h 547704"/>
              <a:gd name="connsiteX26" fmla="*/ 337685 w 377653"/>
              <a:gd name="connsiteY26" fmla="*/ 451827 h 547704"/>
              <a:gd name="connsiteX27" fmla="*/ 256626 w 377653"/>
              <a:gd name="connsiteY27" fmla="*/ 451827 h 547704"/>
              <a:gd name="connsiteX28" fmla="*/ 249631 w 377653"/>
              <a:gd name="connsiteY28" fmla="*/ 444591 h 547704"/>
              <a:gd name="connsiteX29" fmla="*/ 256626 w 377653"/>
              <a:gd name="connsiteY29" fmla="*/ 437758 h 547704"/>
              <a:gd name="connsiteX30" fmla="*/ 256626 w 377653"/>
              <a:gd name="connsiteY30" fmla="*/ 390726 h 547704"/>
              <a:gd name="connsiteX31" fmla="*/ 337685 w 377653"/>
              <a:gd name="connsiteY31" fmla="*/ 390726 h 547704"/>
              <a:gd name="connsiteX32" fmla="*/ 345092 w 377653"/>
              <a:gd name="connsiteY32" fmla="*/ 397961 h 547704"/>
              <a:gd name="connsiteX33" fmla="*/ 337685 w 377653"/>
              <a:gd name="connsiteY33" fmla="*/ 404795 h 547704"/>
              <a:gd name="connsiteX34" fmla="*/ 256626 w 377653"/>
              <a:gd name="connsiteY34" fmla="*/ 404795 h 547704"/>
              <a:gd name="connsiteX35" fmla="*/ 249631 w 377653"/>
              <a:gd name="connsiteY35" fmla="*/ 397961 h 547704"/>
              <a:gd name="connsiteX36" fmla="*/ 256626 w 377653"/>
              <a:gd name="connsiteY36" fmla="*/ 390726 h 547704"/>
              <a:gd name="connsiteX37" fmla="*/ 189570 w 377653"/>
              <a:gd name="connsiteY37" fmla="*/ 390183 h 547704"/>
              <a:gd name="connsiteX38" fmla="*/ 189570 w 377653"/>
              <a:gd name="connsiteY38" fmla="*/ 439620 h 547704"/>
              <a:gd name="connsiteX39" fmla="*/ 203462 w 377653"/>
              <a:gd name="connsiteY39" fmla="*/ 439208 h 547704"/>
              <a:gd name="connsiteX40" fmla="*/ 203462 w 377653"/>
              <a:gd name="connsiteY40" fmla="*/ 390183 h 547704"/>
              <a:gd name="connsiteX41" fmla="*/ 95591 w 377653"/>
              <a:gd name="connsiteY41" fmla="*/ 358460 h 547704"/>
              <a:gd name="connsiteX42" fmla="*/ 95591 w 377653"/>
              <a:gd name="connsiteY42" fmla="*/ 439620 h 547704"/>
              <a:gd name="connsiteX43" fmla="*/ 109892 w 377653"/>
              <a:gd name="connsiteY43" fmla="*/ 439620 h 547704"/>
              <a:gd name="connsiteX44" fmla="*/ 109892 w 377653"/>
              <a:gd name="connsiteY44" fmla="*/ 358460 h 547704"/>
              <a:gd name="connsiteX45" fmla="*/ 256575 w 377653"/>
              <a:gd name="connsiteY45" fmla="*/ 343694 h 547704"/>
              <a:gd name="connsiteX46" fmla="*/ 305591 w 377653"/>
              <a:gd name="connsiteY46" fmla="*/ 343694 h 547704"/>
              <a:gd name="connsiteX47" fmla="*/ 312535 w 377653"/>
              <a:gd name="connsiteY47" fmla="*/ 350929 h 547704"/>
              <a:gd name="connsiteX48" fmla="*/ 305591 w 377653"/>
              <a:gd name="connsiteY48" fmla="*/ 357763 h 547704"/>
              <a:gd name="connsiteX49" fmla="*/ 256575 w 377653"/>
              <a:gd name="connsiteY49" fmla="*/ 357763 h 547704"/>
              <a:gd name="connsiteX50" fmla="*/ 249631 w 377653"/>
              <a:gd name="connsiteY50" fmla="*/ 350929 h 547704"/>
              <a:gd name="connsiteX51" fmla="*/ 256575 w 377653"/>
              <a:gd name="connsiteY51" fmla="*/ 343694 h 547704"/>
              <a:gd name="connsiteX52" fmla="*/ 142989 w 377653"/>
              <a:gd name="connsiteY52" fmla="*/ 326737 h 547704"/>
              <a:gd name="connsiteX53" fmla="*/ 142989 w 377653"/>
              <a:gd name="connsiteY53" fmla="*/ 439620 h 547704"/>
              <a:gd name="connsiteX54" fmla="*/ 156473 w 377653"/>
              <a:gd name="connsiteY54" fmla="*/ 439620 h 547704"/>
              <a:gd name="connsiteX55" fmla="*/ 156473 w 377653"/>
              <a:gd name="connsiteY55" fmla="*/ 327149 h 547704"/>
              <a:gd name="connsiteX56" fmla="*/ 70257 w 377653"/>
              <a:gd name="connsiteY56" fmla="*/ 296663 h 547704"/>
              <a:gd name="connsiteX57" fmla="*/ 77204 w 377653"/>
              <a:gd name="connsiteY57" fmla="*/ 303666 h 547704"/>
              <a:gd name="connsiteX58" fmla="*/ 77204 w 377653"/>
              <a:gd name="connsiteY58" fmla="*/ 439620 h 547704"/>
              <a:gd name="connsiteX59" fmla="*/ 81698 w 377653"/>
              <a:gd name="connsiteY59" fmla="*/ 439620 h 547704"/>
              <a:gd name="connsiteX60" fmla="*/ 81698 w 377653"/>
              <a:gd name="connsiteY60" fmla="*/ 355988 h 547704"/>
              <a:gd name="connsiteX61" fmla="*/ 93548 w 377653"/>
              <a:gd name="connsiteY61" fmla="*/ 344041 h 547704"/>
              <a:gd name="connsiteX62" fmla="*/ 112344 w 377653"/>
              <a:gd name="connsiteY62" fmla="*/ 344041 h 547704"/>
              <a:gd name="connsiteX63" fmla="*/ 123785 w 377653"/>
              <a:gd name="connsiteY63" fmla="*/ 355988 h 547704"/>
              <a:gd name="connsiteX64" fmla="*/ 123785 w 377653"/>
              <a:gd name="connsiteY64" fmla="*/ 439620 h 547704"/>
              <a:gd name="connsiteX65" fmla="*/ 128279 w 377653"/>
              <a:gd name="connsiteY65" fmla="*/ 439620 h 547704"/>
              <a:gd name="connsiteX66" fmla="*/ 128279 w 377653"/>
              <a:gd name="connsiteY66" fmla="*/ 324266 h 547704"/>
              <a:gd name="connsiteX67" fmla="*/ 131957 w 377653"/>
              <a:gd name="connsiteY67" fmla="*/ 316026 h 547704"/>
              <a:gd name="connsiteX68" fmla="*/ 140129 w 377653"/>
              <a:gd name="connsiteY68" fmla="*/ 312730 h 547704"/>
              <a:gd name="connsiteX69" fmla="*/ 159333 w 377653"/>
              <a:gd name="connsiteY69" fmla="*/ 312730 h 547704"/>
              <a:gd name="connsiteX70" fmla="*/ 170774 w 377653"/>
              <a:gd name="connsiteY70" fmla="*/ 324266 h 547704"/>
              <a:gd name="connsiteX71" fmla="*/ 170774 w 377653"/>
              <a:gd name="connsiteY71" fmla="*/ 439620 h 547704"/>
              <a:gd name="connsiteX72" fmla="*/ 175269 w 377653"/>
              <a:gd name="connsiteY72" fmla="*/ 439620 h 547704"/>
              <a:gd name="connsiteX73" fmla="*/ 175269 w 377653"/>
              <a:gd name="connsiteY73" fmla="*/ 387711 h 547704"/>
              <a:gd name="connsiteX74" fmla="*/ 187118 w 377653"/>
              <a:gd name="connsiteY74" fmla="*/ 375763 h 547704"/>
              <a:gd name="connsiteX75" fmla="*/ 206323 w 377653"/>
              <a:gd name="connsiteY75" fmla="*/ 375763 h 547704"/>
              <a:gd name="connsiteX76" fmla="*/ 217764 w 377653"/>
              <a:gd name="connsiteY76" fmla="*/ 387711 h 547704"/>
              <a:gd name="connsiteX77" fmla="*/ 217764 w 377653"/>
              <a:gd name="connsiteY77" fmla="*/ 439208 h 547704"/>
              <a:gd name="connsiteX78" fmla="*/ 229205 w 377653"/>
              <a:gd name="connsiteY78" fmla="*/ 439208 h 547704"/>
              <a:gd name="connsiteX79" fmla="*/ 236559 w 377653"/>
              <a:gd name="connsiteY79" fmla="*/ 446624 h 547704"/>
              <a:gd name="connsiteX80" fmla="*/ 229205 w 377653"/>
              <a:gd name="connsiteY80" fmla="*/ 453628 h 547704"/>
              <a:gd name="connsiteX81" fmla="*/ 211635 w 377653"/>
              <a:gd name="connsiteY81" fmla="*/ 453628 h 547704"/>
              <a:gd name="connsiteX82" fmla="*/ 209592 w 377653"/>
              <a:gd name="connsiteY82" fmla="*/ 453628 h 547704"/>
              <a:gd name="connsiteX83" fmla="*/ 183032 w 377653"/>
              <a:gd name="connsiteY83" fmla="*/ 453628 h 547704"/>
              <a:gd name="connsiteX84" fmla="*/ 181806 w 377653"/>
              <a:gd name="connsiteY84" fmla="*/ 453628 h 547704"/>
              <a:gd name="connsiteX85" fmla="*/ 164645 w 377653"/>
              <a:gd name="connsiteY85" fmla="*/ 453628 h 547704"/>
              <a:gd name="connsiteX86" fmla="*/ 163011 w 377653"/>
              <a:gd name="connsiteY86" fmla="*/ 453628 h 547704"/>
              <a:gd name="connsiteX87" fmla="*/ 136451 w 377653"/>
              <a:gd name="connsiteY87" fmla="*/ 453628 h 547704"/>
              <a:gd name="connsiteX88" fmla="*/ 134408 w 377653"/>
              <a:gd name="connsiteY88" fmla="*/ 453628 h 547704"/>
              <a:gd name="connsiteX89" fmla="*/ 117655 w 377653"/>
              <a:gd name="connsiteY89" fmla="*/ 453628 h 547704"/>
              <a:gd name="connsiteX90" fmla="*/ 116430 w 377653"/>
              <a:gd name="connsiteY90" fmla="*/ 453628 h 547704"/>
              <a:gd name="connsiteX91" fmla="*/ 89462 w 377653"/>
              <a:gd name="connsiteY91" fmla="*/ 453628 h 547704"/>
              <a:gd name="connsiteX92" fmla="*/ 87827 w 377653"/>
              <a:gd name="connsiteY92" fmla="*/ 453628 h 547704"/>
              <a:gd name="connsiteX93" fmla="*/ 77204 w 377653"/>
              <a:gd name="connsiteY93" fmla="*/ 453628 h 547704"/>
              <a:gd name="connsiteX94" fmla="*/ 63311 w 377653"/>
              <a:gd name="connsiteY94" fmla="*/ 439620 h 547704"/>
              <a:gd name="connsiteX95" fmla="*/ 63311 w 377653"/>
              <a:gd name="connsiteY95" fmla="*/ 303666 h 547704"/>
              <a:gd name="connsiteX96" fmla="*/ 70257 w 377653"/>
              <a:gd name="connsiteY96" fmla="*/ 296663 h 547704"/>
              <a:gd name="connsiteX97" fmla="*/ 70276 w 377653"/>
              <a:gd name="connsiteY97" fmla="*/ 247822 h 547704"/>
              <a:gd name="connsiteX98" fmla="*/ 164476 w 377653"/>
              <a:gd name="connsiteY98" fmla="*/ 247822 h 547704"/>
              <a:gd name="connsiteX99" fmla="*/ 171439 w 377653"/>
              <a:gd name="connsiteY99" fmla="*/ 255057 h 547704"/>
              <a:gd name="connsiteX100" fmla="*/ 164476 w 377653"/>
              <a:gd name="connsiteY100" fmla="*/ 261891 h 547704"/>
              <a:gd name="connsiteX101" fmla="*/ 70276 w 377653"/>
              <a:gd name="connsiteY101" fmla="*/ 261891 h 547704"/>
              <a:gd name="connsiteX102" fmla="*/ 63313 w 377653"/>
              <a:gd name="connsiteY102" fmla="*/ 255057 h 547704"/>
              <a:gd name="connsiteX103" fmla="*/ 70276 w 377653"/>
              <a:gd name="connsiteY103" fmla="*/ 247822 h 547704"/>
              <a:gd name="connsiteX104" fmla="*/ 70276 w 377653"/>
              <a:gd name="connsiteY104" fmla="*/ 200790 h 547704"/>
              <a:gd name="connsiteX105" fmla="*/ 164476 w 377653"/>
              <a:gd name="connsiteY105" fmla="*/ 200790 h 547704"/>
              <a:gd name="connsiteX106" fmla="*/ 171439 w 377653"/>
              <a:gd name="connsiteY106" fmla="*/ 207830 h 547704"/>
              <a:gd name="connsiteX107" fmla="*/ 164476 w 377653"/>
              <a:gd name="connsiteY107" fmla="*/ 214870 h 547704"/>
              <a:gd name="connsiteX108" fmla="*/ 70276 w 377653"/>
              <a:gd name="connsiteY108" fmla="*/ 214870 h 547704"/>
              <a:gd name="connsiteX109" fmla="*/ 63313 w 377653"/>
              <a:gd name="connsiteY109" fmla="*/ 207830 h 547704"/>
              <a:gd name="connsiteX110" fmla="*/ 70276 w 377653"/>
              <a:gd name="connsiteY110" fmla="*/ 200790 h 547704"/>
              <a:gd name="connsiteX111" fmla="*/ 70222 w 377653"/>
              <a:gd name="connsiteY111" fmla="*/ 153758 h 547704"/>
              <a:gd name="connsiteX112" fmla="*/ 147846 w 377653"/>
              <a:gd name="connsiteY112" fmla="*/ 153758 h 547704"/>
              <a:gd name="connsiteX113" fmla="*/ 155162 w 377653"/>
              <a:gd name="connsiteY113" fmla="*/ 160591 h 547704"/>
              <a:gd name="connsiteX114" fmla="*/ 147846 w 377653"/>
              <a:gd name="connsiteY114" fmla="*/ 167827 h 547704"/>
              <a:gd name="connsiteX115" fmla="*/ 70222 w 377653"/>
              <a:gd name="connsiteY115" fmla="*/ 167827 h 547704"/>
              <a:gd name="connsiteX116" fmla="*/ 63313 w 377653"/>
              <a:gd name="connsiteY116" fmla="*/ 160591 h 547704"/>
              <a:gd name="connsiteX117" fmla="*/ 70222 w 377653"/>
              <a:gd name="connsiteY117" fmla="*/ 153758 h 547704"/>
              <a:gd name="connsiteX118" fmla="*/ 285369 w 377653"/>
              <a:gd name="connsiteY118" fmla="*/ 145024 h 547704"/>
              <a:gd name="connsiteX119" fmla="*/ 285369 w 377653"/>
              <a:gd name="connsiteY119" fmla="*/ 195529 h 547704"/>
              <a:gd name="connsiteX120" fmla="*/ 280869 w 377653"/>
              <a:gd name="connsiteY120" fmla="*/ 206616 h 547704"/>
              <a:gd name="connsiteX121" fmla="*/ 247733 w 377653"/>
              <a:gd name="connsiteY121" fmla="*/ 239465 h 547704"/>
              <a:gd name="connsiteX122" fmla="*/ 278414 w 377653"/>
              <a:gd name="connsiteY122" fmla="*/ 249320 h 547704"/>
              <a:gd name="connsiteX123" fmla="*/ 330368 w 377653"/>
              <a:gd name="connsiteY123" fmla="*/ 196761 h 547704"/>
              <a:gd name="connsiteX124" fmla="*/ 285369 w 377653"/>
              <a:gd name="connsiteY124" fmla="*/ 145024 h 547704"/>
              <a:gd name="connsiteX125" fmla="*/ 247873 w 377653"/>
              <a:gd name="connsiteY125" fmla="*/ 132284 h 547704"/>
              <a:gd name="connsiteX126" fmla="*/ 202137 w 377653"/>
              <a:gd name="connsiteY126" fmla="*/ 184159 h 547704"/>
              <a:gd name="connsiteX127" fmla="*/ 214086 w 377653"/>
              <a:gd name="connsiteY127" fmla="*/ 216428 h 547704"/>
              <a:gd name="connsiteX128" fmla="*/ 247461 w 377653"/>
              <a:gd name="connsiteY128" fmla="*/ 183342 h 547704"/>
              <a:gd name="connsiteX129" fmla="*/ 247873 w 377653"/>
              <a:gd name="connsiteY129" fmla="*/ 182525 h 547704"/>
              <a:gd name="connsiteX130" fmla="*/ 278414 w 377653"/>
              <a:gd name="connsiteY130" fmla="*/ 130242 h 547704"/>
              <a:gd name="connsiteX131" fmla="*/ 345095 w 377653"/>
              <a:gd name="connsiteY131" fmla="*/ 196761 h 547704"/>
              <a:gd name="connsiteX132" fmla="*/ 278414 w 377653"/>
              <a:gd name="connsiteY132" fmla="*/ 263691 h 547704"/>
              <a:gd name="connsiteX133" fmla="*/ 234642 w 377653"/>
              <a:gd name="connsiteY133" fmla="*/ 246856 h 547704"/>
              <a:gd name="connsiteX134" fmla="*/ 233415 w 377653"/>
              <a:gd name="connsiteY134" fmla="*/ 245624 h 547704"/>
              <a:gd name="connsiteX135" fmla="*/ 232597 w 377653"/>
              <a:gd name="connsiteY135" fmla="*/ 245214 h 547704"/>
              <a:gd name="connsiteX136" fmla="*/ 232597 w 377653"/>
              <a:gd name="connsiteY136" fmla="*/ 234948 h 547704"/>
              <a:gd name="connsiteX137" fmla="*/ 271051 w 377653"/>
              <a:gd name="connsiteY137" fmla="*/ 196351 h 547704"/>
              <a:gd name="connsiteX138" fmla="*/ 271051 w 377653"/>
              <a:gd name="connsiteY138" fmla="*/ 195529 h 547704"/>
              <a:gd name="connsiteX139" fmla="*/ 271051 w 377653"/>
              <a:gd name="connsiteY139" fmla="*/ 137222 h 547704"/>
              <a:gd name="connsiteX140" fmla="*/ 278414 w 377653"/>
              <a:gd name="connsiteY140" fmla="*/ 130242 h 547704"/>
              <a:gd name="connsiteX141" fmla="*/ 246637 w 377653"/>
              <a:gd name="connsiteY141" fmla="*/ 117988 h 547704"/>
              <a:gd name="connsiteX142" fmla="*/ 257350 w 377653"/>
              <a:gd name="connsiteY142" fmla="*/ 121256 h 547704"/>
              <a:gd name="connsiteX143" fmla="*/ 261882 w 377653"/>
              <a:gd name="connsiteY143" fmla="*/ 131467 h 547704"/>
              <a:gd name="connsiteX144" fmla="*/ 261882 w 377653"/>
              <a:gd name="connsiteY144" fmla="*/ 182525 h 547704"/>
              <a:gd name="connsiteX145" fmla="*/ 257350 w 377653"/>
              <a:gd name="connsiteY145" fmla="*/ 193145 h 547704"/>
              <a:gd name="connsiteX146" fmla="*/ 223975 w 377653"/>
              <a:gd name="connsiteY146" fmla="*/ 227048 h 547704"/>
              <a:gd name="connsiteX147" fmla="*/ 213674 w 377653"/>
              <a:gd name="connsiteY147" fmla="*/ 231132 h 547704"/>
              <a:gd name="connsiteX148" fmla="*/ 212850 w 377653"/>
              <a:gd name="connsiteY148" fmla="*/ 230724 h 547704"/>
              <a:gd name="connsiteX149" fmla="*/ 203373 w 377653"/>
              <a:gd name="connsiteY149" fmla="*/ 225822 h 547704"/>
              <a:gd name="connsiteX150" fmla="*/ 188128 w 377653"/>
              <a:gd name="connsiteY150" fmla="*/ 184159 h 547704"/>
              <a:gd name="connsiteX151" fmla="*/ 246637 w 377653"/>
              <a:gd name="connsiteY151" fmla="*/ 117988 h 547704"/>
              <a:gd name="connsiteX152" fmla="*/ 274487 w 377653"/>
              <a:gd name="connsiteY152" fmla="*/ 34367 h 547704"/>
              <a:gd name="connsiteX153" fmla="*/ 274487 w 377653"/>
              <a:gd name="connsiteY153" fmla="*/ 56073 h 547704"/>
              <a:gd name="connsiteX154" fmla="*/ 308602 w 377653"/>
              <a:gd name="connsiteY154" fmla="*/ 90065 h 547704"/>
              <a:gd name="connsiteX155" fmla="*/ 348882 w 377653"/>
              <a:gd name="connsiteY155" fmla="*/ 90065 h 547704"/>
              <a:gd name="connsiteX156" fmla="*/ 51714 w 377653"/>
              <a:gd name="connsiteY156" fmla="*/ 26996 h 547704"/>
              <a:gd name="connsiteX157" fmla="*/ 45138 w 377653"/>
              <a:gd name="connsiteY157" fmla="*/ 33958 h 547704"/>
              <a:gd name="connsiteX158" fmla="*/ 45138 w 377653"/>
              <a:gd name="connsiteY158" fmla="*/ 389029 h 547704"/>
              <a:gd name="connsiteX159" fmla="*/ 45138 w 377653"/>
              <a:gd name="connsiteY159" fmla="*/ 493462 h 547704"/>
              <a:gd name="connsiteX160" fmla="*/ 51714 w 377653"/>
              <a:gd name="connsiteY160" fmla="*/ 500015 h 547704"/>
              <a:gd name="connsiteX161" fmla="*/ 356691 w 377653"/>
              <a:gd name="connsiteY161" fmla="*/ 500015 h 547704"/>
              <a:gd name="connsiteX162" fmla="*/ 363267 w 377653"/>
              <a:gd name="connsiteY162" fmla="*/ 493462 h 547704"/>
              <a:gd name="connsiteX163" fmla="*/ 363267 w 377653"/>
              <a:gd name="connsiteY163" fmla="*/ 452098 h 547704"/>
              <a:gd name="connsiteX164" fmla="*/ 363267 w 377653"/>
              <a:gd name="connsiteY164" fmla="*/ 104399 h 547704"/>
              <a:gd name="connsiteX165" fmla="*/ 308602 w 377653"/>
              <a:gd name="connsiteY165" fmla="*/ 104399 h 547704"/>
              <a:gd name="connsiteX166" fmla="*/ 260101 w 377653"/>
              <a:gd name="connsiteY166" fmla="*/ 56073 h 547704"/>
              <a:gd name="connsiteX167" fmla="*/ 260101 w 377653"/>
              <a:gd name="connsiteY167" fmla="*/ 26996 h 547704"/>
              <a:gd name="connsiteX168" fmla="*/ 51714 w 377653"/>
              <a:gd name="connsiteY168" fmla="*/ 12662 h 547704"/>
              <a:gd name="connsiteX169" fmla="*/ 266267 w 377653"/>
              <a:gd name="connsiteY169" fmla="*/ 12662 h 547704"/>
              <a:gd name="connsiteX170" fmla="*/ 266267 w 377653"/>
              <a:gd name="connsiteY170" fmla="*/ 13071 h 547704"/>
              <a:gd name="connsiteX171" fmla="*/ 271610 w 377653"/>
              <a:gd name="connsiteY171" fmla="*/ 14300 h 547704"/>
              <a:gd name="connsiteX172" fmla="*/ 374776 w 377653"/>
              <a:gd name="connsiteY172" fmla="*/ 91293 h 547704"/>
              <a:gd name="connsiteX173" fmla="*/ 377653 w 377653"/>
              <a:gd name="connsiteY173" fmla="*/ 97027 h 547704"/>
              <a:gd name="connsiteX174" fmla="*/ 377653 w 377653"/>
              <a:gd name="connsiteY174" fmla="*/ 452098 h 547704"/>
              <a:gd name="connsiteX175" fmla="*/ 377653 w 377653"/>
              <a:gd name="connsiteY175" fmla="*/ 493462 h 547704"/>
              <a:gd name="connsiteX176" fmla="*/ 377653 w 377653"/>
              <a:gd name="connsiteY176" fmla="*/ 524588 h 547704"/>
              <a:gd name="connsiteX177" fmla="*/ 356691 w 377653"/>
              <a:gd name="connsiteY177" fmla="*/ 545884 h 547704"/>
              <a:gd name="connsiteX178" fmla="*/ 51714 w 377653"/>
              <a:gd name="connsiteY178" fmla="*/ 545884 h 547704"/>
              <a:gd name="connsiteX179" fmla="*/ 30752 w 377653"/>
              <a:gd name="connsiteY179" fmla="*/ 524588 h 547704"/>
              <a:gd name="connsiteX180" fmla="*/ 30752 w 377653"/>
              <a:gd name="connsiteY180" fmla="*/ 493462 h 547704"/>
              <a:gd name="connsiteX181" fmla="*/ 30752 w 377653"/>
              <a:gd name="connsiteY181" fmla="*/ 389029 h 547704"/>
              <a:gd name="connsiteX182" fmla="*/ 30752 w 377653"/>
              <a:gd name="connsiteY182" fmla="*/ 33958 h 547704"/>
              <a:gd name="connsiteX183" fmla="*/ 51714 w 377653"/>
              <a:gd name="connsiteY183" fmla="*/ 12662 h 547704"/>
              <a:gd name="connsiteX184" fmla="*/ 345094 w 377653"/>
              <a:gd name="connsiteY184" fmla="*/ 0 h 547704"/>
              <a:gd name="connsiteX185" fmla="*/ 352494 w 377653"/>
              <a:gd name="connsiteY185" fmla="*/ 6989 h 547704"/>
              <a:gd name="connsiteX186" fmla="*/ 352494 w 377653"/>
              <a:gd name="connsiteY186" fmla="*/ 19733 h 547704"/>
              <a:gd name="connsiteX187" fmla="*/ 365238 w 377653"/>
              <a:gd name="connsiteY187" fmla="*/ 19733 h 547704"/>
              <a:gd name="connsiteX188" fmla="*/ 372227 w 377653"/>
              <a:gd name="connsiteY188" fmla="*/ 27133 h 547704"/>
              <a:gd name="connsiteX189" fmla="*/ 365238 w 377653"/>
              <a:gd name="connsiteY189" fmla="*/ 34122 h 547704"/>
              <a:gd name="connsiteX190" fmla="*/ 352494 w 377653"/>
              <a:gd name="connsiteY190" fmla="*/ 34122 h 547704"/>
              <a:gd name="connsiteX191" fmla="*/ 352494 w 377653"/>
              <a:gd name="connsiteY191" fmla="*/ 46867 h 547704"/>
              <a:gd name="connsiteX192" fmla="*/ 345094 w 377653"/>
              <a:gd name="connsiteY192" fmla="*/ 53856 h 547704"/>
              <a:gd name="connsiteX193" fmla="*/ 338105 w 377653"/>
              <a:gd name="connsiteY193" fmla="*/ 46867 h 547704"/>
              <a:gd name="connsiteX194" fmla="*/ 338105 w 377653"/>
              <a:gd name="connsiteY194" fmla="*/ 34122 h 547704"/>
              <a:gd name="connsiteX195" fmla="*/ 325360 w 377653"/>
              <a:gd name="connsiteY195" fmla="*/ 34122 h 547704"/>
              <a:gd name="connsiteX196" fmla="*/ 318371 w 377653"/>
              <a:gd name="connsiteY196" fmla="*/ 27133 h 547704"/>
              <a:gd name="connsiteX197" fmla="*/ 325360 w 377653"/>
              <a:gd name="connsiteY197" fmla="*/ 19733 h 547704"/>
              <a:gd name="connsiteX198" fmla="*/ 338105 w 377653"/>
              <a:gd name="connsiteY198" fmla="*/ 19733 h 547704"/>
              <a:gd name="connsiteX199" fmla="*/ 338105 w 377653"/>
              <a:gd name="connsiteY199" fmla="*/ 6989 h 547704"/>
              <a:gd name="connsiteX200" fmla="*/ 345094 w 377653"/>
              <a:gd name="connsiteY200" fmla="*/ 0 h 547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</a:cxnLst>
            <a:rect l="l" t="t" r="r" b="b"/>
            <a:pathLst>
              <a:path w="377653" h="547704">
                <a:moveTo>
                  <a:pt x="7029" y="524585"/>
                </a:moveTo>
                <a:cubicBezTo>
                  <a:pt x="11163" y="524585"/>
                  <a:pt x="14058" y="527375"/>
                  <a:pt x="14058" y="531361"/>
                </a:cubicBezTo>
                <a:lnTo>
                  <a:pt x="14058" y="540928"/>
                </a:lnTo>
                <a:cubicBezTo>
                  <a:pt x="14058" y="544515"/>
                  <a:pt x="11163" y="547704"/>
                  <a:pt x="7029" y="547704"/>
                </a:cubicBezTo>
                <a:cubicBezTo>
                  <a:pt x="3308" y="547704"/>
                  <a:pt x="0" y="544515"/>
                  <a:pt x="0" y="540928"/>
                </a:cubicBezTo>
                <a:lnTo>
                  <a:pt x="0" y="531361"/>
                </a:lnTo>
                <a:cubicBezTo>
                  <a:pt x="0" y="527375"/>
                  <a:pt x="3308" y="524585"/>
                  <a:pt x="7029" y="524585"/>
                </a:cubicBezTo>
                <a:close/>
                <a:moveTo>
                  <a:pt x="45138" y="513120"/>
                </a:moveTo>
                <a:lnTo>
                  <a:pt x="45138" y="524588"/>
                </a:lnTo>
                <a:cubicBezTo>
                  <a:pt x="45138" y="528683"/>
                  <a:pt x="48015" y="531550"/>
                  <a:pt x="51714" y="531550"/>
                </a:cubicBezTo>
                <a:lnTo>
                  <a:pt x="356691" y="531550"/>
                </a:lnTo>
                <a:cubicBezTo>
                  <a:pt x="359979" y="531550"/>
                  <a:pt x="363267" y="528683"/>
                  <a:pt x="363267" y="524588"/>
                </a:cubicBezTo>
                <a:lnTo>
                  <a:pt x="363267" y="513120"/>
                </a:lnTo>
                <a:cubicBezTo>
                  <a:pt x="361212" y="513530"/>
                  <a:pt x="359157" y="514349"/>
                  <a:pt x="356691" y="514349"/>
                </a:cubicBezTo>
                <a:lnTo>
                  <a:pt x="51714" y="514349"/>
                </a:lnTo>
                <a:cubicBezTo>
                  <a:pt x="49659" y="514349"/>
                  <a:pt x="47193" y="513530"/>
                  <a:pt x="45138" y="513120"/>
                </a:cubicBezTo>
                <a:close/>
                <a:moveTo>
                  <a:pt x="7029" y="454039"/>
                </a:moveTo>
                <a:cubicBezTo>
                  <a:pt x="11163" y="454039"/>
                  <a:pt x="14058" y="457297"/>
                  <a:pt x="14058" y="460963"/>
                </a:cubicBezTo>
                <a:lnTo>
                  <a:pt x="14058" y="508210"/>
                </a:lnTo>
                <a:cubicBezTo>
                  <a:pt x="14058" y="511876"/>
                  <a:pt x="11163" y="515134"/>
                  <a:pt x="7029" y="515134"/>
                </a:cubicBezTo>
                <a:cubicBezTo>
                  <a:pt x="3308" y="515134"/>
                  <a:pt x="0" y="511876"/>
                  <a:pt x="0" y="508210"/>
                </a:cubicBezTo>
                <a:lnTo>
                  <a:pt x="0" y="460963"/>
                </a:lnTo>
                <a:cubicBezTo>
                  <a:pt x="0" y="457297"/>
                  <a:pt x="3308" y="454039"/>
                  <a:pt x="7029" y="454039"/>
                </a:cubicBezTo>
                <a:close/>
                <a:moveTo>
                  <a:pt x="256626" y="437758"/>
                </a:moveTo>
                <a:lnTo>
                  <a:pt x="337685" y="437758"/>
                </a:lnTo>
                <a:cubicBezTo>
                  <a:pt x="341800" y="437758"/>
                  <a:pt x="345092" y="440572"/>
                  <a:pt x="345092" y="444591"/>
                </a:cubicBezTo>
                <a:cubicBezTo>
                  <a:pt x="345092" y="448611"/>
                  <a:pt x="341800" y="451827"/>
                  <a:pt x="337685" y="451827"/>
                </a:cubicBezTo>
                <a:lnTo>
                  <a:pt x="256626" y="451827"/>
                </a:lnTo>
                <a:cubicBezTo>
                  <a:pt x="252923" y="451827"/>
                  <a:pt x="249631" y="448611"/>
                  <a:pt x="249631" y="444591"/>
                </a:cubicBezTo>
                <a:cubicBezTo>
                  <a:pt x="249631" y="440572"/>
                  <a:pt x="252923" y="437758"/>
                  <a:pt x="256626" y="437758"/>
                </a:cubicBezTo>
                <a:close/>
                <a:moveTo>
                  <a:pt x="256626" y="390726"/>
                </a:moveTo>
                <a:lnTo>
                  <a:pt x="337685" y="390726"/>
                </a:lnTo>
                <a:cubicBezTo>
                  <a:pt x="341800" y="390726"/>
                  <a:pt x="345092" y="393942"/>
                  <a:pt x="345092" y="397961"/>
                </a:cubicBezTo>
                <a:cubicBezTo>
                  <a:pt x="345092" y="401579"/>
                  <a:pt x="341800" y="404795"/>
                  <a:pt x="337685" y="404795"/>
                </a:cubicBezTo>
                <a:lnTo>
                  <a:pt x="256626" y="404795"/>
                </a:lnTo>
                <a:cubicBezTo>
                  <a:pt x="252923" y="404795"/>
                  <a:pt x="249631" y="401579"/>
                  <a:pt x="249631" y="397961"/>
                </a:cubicBezTo>
                <a:cubicBezTo>
                  <a:pt x="249631" y="393942"/>
                  <a:pt x="252923" y="390726"/>
                  <a:pt x="256626" y="390726"/>
                </a:cubicBezTo>
                <a:close/>
                <a:moveTo>
                  <a:pt x="189570" y="390183"/>
                </a:moveTo>
                <a:lnTo>
                  <a:pt x="189570" y="439620"/>
                </a:lnTo>
                <a:lnTo>
                  <a:pt x="203462" y="439208"/>
                </a:lnTo>
                <a:lnTo>
                  <a:pt x="203462" y="390183"/>
                </a:lnTo>
                <a:close/>
                <a:moveTo>
                  <a:pt x="95591" y="358460"/>
                </a:moveTo>
                <a:lnTo>
                  <a:pt x="95591" y="439620"/>
                </a:lnTo>
                <a:lnTo>
                  <a:pt x="109892" y="439620"/>
                </a:lnTo>
                <a:lnTo>
                  <a:pt x="109892" y="358460"/>
                </a:lnTo>
                <a:close/>
                <a:moveTo>
                  <a:pt x="256575" y="343694"/>
                </a:moveTo>
                <a:lnTo>
                  <a:pt x="305591" y="343694"/>
                </a:lnTo>
                <a:cubicBezTo>
                  <a:pt x="309675" y="343694"/>
                  <a:pt x="312535" y="346910"/>
                  <a:pt x="312535" y="350929"/>
                </a:cubicBezTo>
                <a:cubicBezTo>
                  <a:pt x="312535" y="354547"/>
                  <a:pt x="309675" y="357763"/>
                  <a:pt x="305591" y="357763"/>
                </a:cubicBezTo>
                <a:lnTo>
                  <a:pt x="256575" y="357763"/>
                </a:lnTo>
                <a:cubicBezTo>
                  <a:pt x="252899" y="357763"/>
                  <a:pt x="249631" y="354547"/>
                  <a:pt x="249631" y="350929"/>
                </a:cubicBezTo>
                <a:cubicBezTo>
                  <a:pt x="249631" y="346910"/>
                  <a:pt x="252899" y="343694"/>
                  <a:pt x="256575" y="343694"/>
                </a:cubicBezTo>
                <a:close/>
                <a:moveTo>
                  <a:pt x="142989" y="326737"/>
                </a:moveTo>
                <a:lnTo>
                  <a:pt x="142989" y="439620"/>
                </a:lnTo>
                <a:lnTo>
                  <a:pt x="156473" y="439620"/>
                </a:lnTo>
                <a:lnTo>
                  <a:pt x="156473" y="327149"/>
                </a:lnTo>
                <a:close/>
                <a:moveTo>
                  <a:pt x="70257" y="296663"/>
                </a:moveTo>
                <a:cubicBezTo>
                  <a:pt x="73935" y="296663"/>
                  <a:pt x="77204" y="299959"/>
                  <a:pt x="77204" y="303666"/>
                </a:cubicBezTo>
                <a:lnTo>
                  <a:pt x="77204" y="439620"/>
                </a:lnTo>
                <a:lnTo>
                  <a:pt x="81698" y="439620"/>
                </a:lnTo>
                <a:lnTo>
                  <a:pt x="81698" y="355988"/>
                </a:lnTo>
                <a:cubicBezTo>
                  <a:pt x="81698" y="349396"/>
                  <a:pt x="87010" y="344041"/>
                  <a:pt x="93548" y="344041"/>
                </a:cubicBezTo>
                <a:lnTo>
                  <a:pt x="112344" y="344041"/>
                </a:lnTo>
                <a:cubicBezTo>
                  <a:pt x="118881" y="344041"/>
                  <a:pt x="123785" y="349396"/>
                  <a:pt x="123785" y="355988"/>
                </a:cubicBezTo>
                <a:lnTo>
                  <a:pt x="123785" y="439620"/>
                </a:lnTo>
                <a:lnTo>
                  <a:pt x="128279" y="439620"/>
                </a:lnTo>
                <a:lnTo>
                  <a:pt x="128279" y="324266"/>
                </a:lnTo>
                <a:cubicBezTo>
                  <a:pt x="128279" y="321382"/>
                  <a:pt x="129505" y="318086"/>
                  <a:pt x="131957" y="316026"/>
                </a:cubicBezTo>
                <a:cubicBezTo>
                  <a:pt x="134000" y="313966"/>
                  <a:pt x="137269" y="312730"/>
                  <a:pt x="140129" y="312730"/>
                </a:cubicBezTo>
                <a:lnTo>
                  <a:pt x="159333" y="312730"/>
                </a:lnTo>
                <a:cubicBezTo>
                  <a:pt x="165462" y="312730"/>
                  <a:pt x="170774" y="317674"/>
                  <a:pt x="170774" y="324266"/>
                </a:cubicBezTo>
                <a:lnTo>
                  <a:pt x="170774" y="439620"/>
                </a:lnTo>
                <a:lnTo>
                  <a:pt x="175269" y="439620"/>
                </a:lnTo>
                <a:lnTo>
                  <a:pt x="175269" y="387711"/>
                </a:lnTo>
                <a:cubicBezTo>
                  <a:pt x="175269" y="381119"/>
                  <a:pt x="180581" y="375763"/>
                  <a:pt x="187118" y="375763"/>
                </a:cubicBezTo>
                <a:lnTo>
                  <a:pt x="206323" y="375763"/>
                </a:lnTo>
                <a:cubicBezTo>
                  <a:pt x="212452" y="375763"/>
                  <a:pt x="217764" y="381119"/>
                  <a:pt x="217764" y="387711"/>
                </a:cubicBezTo>
                <a:lnTo>
                  <a:pt x="217764" y="439208"/>
                </a:lnTo>
                <a:lnTo>
                  <a:pt x="229205" y="439208"/>
                </a:lnTo>
                <a:cubicBezTo>
                  <a:pt x="233291" y="439208"/>
                  <a:pt x="236559" y="442504"/>
                  <a:pt x="236559" y="446624"/>
                </a:cubicBezTo>
                <a:cubicBezTo>
                  <a:pt x="236559" y="450332"/>
                  <a:pt x="233291" y="453628"/>
                  <a:pt x="229205" y="453628"/>
                </a:cubicBezTo>
                <a:lnTo>
                  <a:pt x="211635" y="453628"/>
                </a:lnTo>
                <a:cubicBezTo>
                  <a:pt x="210817" y="453628"/>
                  <a:pt x="210409" y="453628"/>
                  <a:pt x="209592" y="453628"/>
                </a:cubicBezTo>
                <a:lnTo>
                  <a:pt x="183032" y="453628"/>
                </a:lnTo>
                <a:cubicBezTo>
                  <a:pt x="182624" y="453628"/>
                  <a:pt x="181806" y="453628"/>
                  <a:pt x="181806" y="453628"/>
                </a:cubicBezTo>
                <a:lnTo>
                  <a:pt x="164645" y="453628"/>
                </a:lnTo>
                <a:cubicBezTo>
                  <a:pt x="164236" y="453628"/>
                  <a:pt x="163419" y="453628"/>
                  <a:pt x="163011" y="453628"/>
                </a:cubicBezTo>
                <a:lnTo>
                  <a:pt x="136451" y="453628"/>
                </a:lnTo>
                <a:cubicBezTo>
                  <a:pt x="136043" y="453628"/>
                  <a:pt x="135225" y="453628"/>
                  <a:pt x="134408" y="453628"/>
                </a:cubicBezTo>
                <a:lnTo>
                  <a:pt x="117655" y="453628"/>
                </a:lnTo>
                <a:cubicBezTo>
                  <a:pt x="117247" y="453628"/>
                  <a:pt x="116838" y="453628"/>
                  <a:pt x="116430" y="453628"/>
                </a:cubicBezTo>
                <a:lnTo>
                  <a:pt x="89462" y="453628"/>
                </a:lnTo>
                <a:cubicBezTo>
                  <a:pt x="88645" y="453628"/>
                  <a:pt x="88645" y="453628"/>
                  <a:pt x="87827" y="453628"/>
                </a:cubicBezTo>
                <a:lnTo>
                  <a:pt x="77204" y="453628"/>
                </a:lnTo>
                <a:cubicBezTo>
                  <a:pt x="69032" y="453628"/>
                  <a:pt x="63311" y="447448"/>
                  <a:pt x="63311" y="439620"/>
                </a:cubicBezTo>
                <a:lnTo>
                  <a:pt x="63311" y="303666"/>
                </a:lnTo>
                <a:cubicBezTo>
                  <a:pt x="63311" y="299959"/>
                  <a:pt x="66171" y="296663"/>
                  <a:pt x="70257" y="296663"/>
                </a:cubicBezTo>
                <a:close/>
                <a:moveTo>
                  <a:pt x="70276" y="247822"/>
                </a:moveTo>
                <a:lnTo>
                  <a:pt x="164476" y="247822"/>
                </a:lnTo>
                <a:cubicBezTo>
                  <a:pt x="168162" y="247822"/>
                  <a:pt x="171439" y="250636"/>
                  <a:pt x="171439" y="255057"/>
                </a:cubicBezTo>
                <a:cubicBezTo>
                  <a:pt x="171439" y="258675"/>
                  <a:pt x="168162" y="261891"/>
                  <a:pt x="164476" y="261891"/>
                </a:cubicBezTo>
                <a:lnTo>
                  <a:pt x="70276" y="261891"/>
                </a:lnTo>
                <a:cubicBezTo>
                  <a:pt x="66180" y="261891"/>
                  <a:pt x="63313" y="258675"/>
                  <a:pt x="63313" y="255057"/>
                </a:cubicBezTo>
                <a:cubicBezTo>
                  <a:pt x="63313" y="250636"/>
                  <a:pt x="66180" y="247822"/>
                  <a:pt x="70276" y="247822"/>
                </a:cubicBezTo>
                <a:close/>
                <a:moveTo>
                  <a:pt x="70276" y="200790"/>
                </a:moveTo>
                <a:lnTo>
                  <a:pt x="164476" y="200790"/>
                </a:lnTo>
                <a:cubicBezTo>
                  <a:pt x="168162" y="200790"/>
                  <a:pt x="171439" y="204310"/>
                  <a:pt x="171439" y="207830"/>
                </a:cubicBezTo>
                <a:cubicBezTo>
                  <a:pt x="171439" y="211741"/>
                  <a:pt x="168162" y="214870"/>
                  <a:pt x="164476" y="214870"/>
                </a:cubicBezTo>
                <a:lnTo>
                  <a:pt x="70276" y="214870"/>
                </a:lnTo>
                <a:cubicBezTo>
                  <a:pt x="66180" y="214870"/>
                  <a:pt x="63313" y="211741"/>
                  <a:pt x="63313" y="207830"/>
                </a:cubicBezTo>
                <a:cubicBezTo>
                  <a:pt x="63313" y="204310"/>
                  <a:pt x="66180" y="200790"/>
                  <a:pt x="70276" y="200790"/>
                </a:cubicBezTo>
                <a:close/>
                <a:moveTo>
                  <a:pt x="70222" y="153758"/>
                </a:moveTo>
                <a:lnTo>
                  <a:pt x="147846" y="153758"/>
                </a:lnTo>
                <a:cubicBezTo>
                  <a:pt x="152317" y="153758"/>
                  <a:pt x="155162" y="156572"/>
                  <a:pt x="155162" y="160591"/>
                </a:cubicBezTo>
                <a:cubicBezTo>
                  <a:pt x="155162" y="164209"/>
                  <a:pt x="152317" y="167827"/>
                  <a:pt x="147846" y="167827"/>
                </a:cubicBezTo>
                <a:lnTo>
                  <a:pt x="70222" y="167827"/>
                </a:lnTo>
                <a:cubicBezTo>
                  <a:pt x="66158" y="167827"/>
                  <a:pt x="63313" y="164209"/>
                  <a:pt x="63313" y="160591"/>
                </a:cubicBezTo>
                <a:cubicBezTo>
                  <a:pt x="63313" y="156572"/>
                  <a:pt x="66158" y="153758"/>
                  <a:pt x="70222" y="153758"/>
                </a:cubicBezTo>
                <a:close/>
                <a:moveTo>
                  <a:pt x="285369" y="145024"/>
                </a:moveTo>
                <a:lnTo>
                  <a:pt x="285369" y="195529"/>
                </a:lnTo>
                <a:cubicBezTo>
                  <a:pt x="285369" y="199635"/>
                  <a:pt x="283732" y="203331"/>
                  <a:pt x="280869" y="206616"/>
                </a:cubicBezTo>
                <a:lnTo>
                  <a:pt x="247733" y="239465"/>
                </a:lnTo>
                <a:cubicBezTo>
                  <a:pt x="256733" y="246035"/>
                  <a:pt x="267778" y="249320"/>
                  <a:pt x="278414" y="249320"/>
                </a:cubicBezTo>
                <a:cubicBezTo>
                  <a:pt x="307050" y="249320"/>
                  <a:pt x="330368" y="225915"/>
                  <a:pt x="330368" y="196761"/>
                </a:cubicBezTo>
                <a:cubicBezTo>
                  <a:pt x="330368" y="170482"/>
                  <a:pt x="311141" y="148309"/>
                  <a:pt x="285369" y="145024"/>
                </a:cubicBezTo>
                <a:close/>
                <a:moveTo>
                  <a:pt x="247873" y="132284"/>
                </a:moveTo>
                <a:cubicBezTo>
                  <a:pt x="221915" y="135552"/>
                  <a:pt x="202137" y="157609"/>
                  <a:pt x="202137" y="184159"/>
                </a:cubicBezTo>
                <a:cubicBezTo>
                  <a:pt x="202137" y="195596"/>
                  <a:pt x="206258" y="207033"/>
                  <a:pt x="214086" y="216428"/>
                </a:cubicBezTo>
                <a:lnTo>
                  <a:pt x="247461" y="183342"/>
                </a:lnTo>
                <a:cubicBezTo>
                  <a:pt x="247461" y="182934"/>
                  <a:pt x="247873" y="182934"/>
                  <a:pt x="247873" y="182525"/>
                </a:cubicBezTo>
                <a:close/>
                <a:moveTo>
                  <a:pt x="278414" y="130242"/>
                </a:moveTo>
                <a:cubicBezTo>
                  <a:pt x="315232" y="130242"/>
                  <a:pt x="345095" y="160217"/>
                  <a:pt x="345095" y="196761"/>
                </a:cubicBezTo>
                <a:cubicBezTo>
                  <a:pt x="345095" y="233716"/>
                  <a:pt x="315232" y="263691"/>
                  <a:pt x="278414" y="263691"/>
                </a:cubicBezTo>
                <a:cubicBezTo>
                  <a:pt x="262051" y="263691"/>
                  <a:pt x="246506" y="257943"/>
                  <a:pt x="234642" y="246856"/>
                </a:cubicBezTo>
                <a:cubicBezTo>
                  <a:pt x="233824" y="246856"/>
                  <a:pt x="233824" y="246445"/>
                  <a:pt x="233415" y="245624"/>
                </a:cubicBezTo>
                <a:cubicBezTo>
                  <a:pt x="233006" y="245214"/>
                  <a:pt x="232597" y="245214"/>
                  <a:pt x="232597" y="245214"/>
                </a:cubicBezTo>
                <a:cubicBezTo>
                  <a:pt x="229733" y="242339"/>
                  <a:pt x="229733" y="237822"/>
                  <a:pt x="232597" y="234948"/>
                </a:cubicBezTo>
                <a:lnTo>
                  <a:pt x="271051" y="196351"/>
                </a:lnTo>
                <a:cubicBezTo>
                  <a:pt x="271051" y="195940"/>
                  <a:pt x="271051" y="195940"/>
                  <a:pt x="271051" y="195529"/>
                </a:cubicBezTo>
                <a:lnTo>
                  <a:pt x="271051" y="137222"/>
                </a:lnTo>
                <a:cubicBezTo>
                  <a:pt x="271051" y="133116"/>
                  <a:pt x="274732" y="130242"/>
                  <a:pt x="278414" y="130242"/>
                </a:cubicBezTo>
                <a:close/>
                <a:moveTo>
                  <a:pt x="246637" y="117988"/>
                </a:moveTo>
                <a:cubicBezTo>
                  <a:pt x="250345" y="117580"/>
                  <a:pt x="254053" y="118805"/>
                  <a:pt x="257350" y="121256"/>
                </a:cubicBezTo>
                <a:cubicBezTo>
                  <a:pt x="260234" y="124115"/>
                  <a:pt x="261882" y="127791"/>
                  <a:pt x="261882" y="131467"/>
                </a:cubicBezTo>
                <a:lnTo>
                  <a:pt x="261882" y="182525"/>
                </a:lnTo>
                <a:cubicBezTo>
                  <a:pt x="261882" y="186610"/>
                  <a:pt x="260234" y="190695"/>
                  <a:pt x="257350" y="193145"/>
                </a:cubicBezTo>
                <a:lnTo>
                  <a:pt x="223975" y="227048"/>
                </a:lnTo>
                <a:cubicBezTo>
                  <a:pt x="221091" y="229498"/>
                  <a:pt x="217382" y="231132"/>
                  <a:pt x="213674" y="231132"/>
                </a:cubicBezTo>
                <a:cubicBezTo>
                  <a:pt x="213674" y="231132"/>
                  <a:pt x="213262" y="231132"/>
                  <a:pt x="212850" y="230724"/>
                </a:cubicBezTo>
                <a:cubicBezTo>
                  <a:pt x="209142" y="230724"/>
                  <a:pt x="205845" y="229090"/>
                  <a:pt x="203373" y="225822"/>
                </a:cubicBezTo>
                <a:cubicBezTo>
                  <a:pt x="193484" y="214385"/>
                  <a:pt x="188128" y="199272"/>
                  <a:pt x="188128" y="184159"/>
                </a:cubicBezTo>
                <a:cubicBezTo>
                  <a:pt x="188128" y="150257"/>
                  <a:pt x="212850" y="122481"/>
                  <a:pt x="246637" y="117988"/>
                </a:cubicBezTo>
                <a:close/>
                <a:moveTo>
                  <a:pt x="274487" y="34367"/>
                </a:moveTo>
                <a:lnTo>
                  <a:pt x="274487" y="56073"/>
                </a:lnTo>
                <a:cubicBezTo>
                  <a:pt x="274487" y="74502"/>
                  <a:pt x="289695" y="90065"/>
                  <a:pt x="308602" y="90065"/>
                </a:cubicBezTo>
                <a:lnTo>
                  <a:pt x="348882" y="90065"/>
                </a:lnTo>
                <a:close/>
                <a:moveTo>
                  <a:pt x="51714" y="26996"/>
                </a:moveTo>
                <a:cubicBezTo>
                  <a:pt x="48015" y="26996"/>
                  <a:pt x="45138" y="29862"/>
                  <a:pt x="45138" y="33958"/>
                </a:cubicBezTo>
                <a:lnTo>
                  <a:pt x="45138" y="389029"/>
                </a:lnTo>
                <a:lnTo>
                  <a:pt x="45138" y="493462"/>
                </a:lnTo>
                <a:cubicBezTo>
                  <a:pt x="45138" y="497148"/>
                  <a:pt x="48015" y="500015"/>
                  <a:pt x="51714" y="500015"/>
                </a:cubicBezTo>
                <a:lnTo>
                  <a:pt x="356691" y="500015"/>
                </a:lnTo>
                <a:cubicBezTo>
                  <a:pt x="359979" y="500015"/>
                  <a:pt x="363267" y="497148"/>
                  <a:pt x="363267" y="493462"/>
                </a:cubicBezTo>
                <a:lnTo>
                  <a:pt x="363267" y="452098"/>
                </a:lnTo>
                <a:lnTo>
                  <a:pt x="363267" y="104399"/>
                </a:lnTo>
                <a:lnTo>
                  <a:pt x="308602" y="104399"/>
                </a:lnTo>
                <a:cubicBezTo>
                  <a:pt x="281885" y="104399"/>
                  <a:pt x="260101" y="82284"/>
                  <a:pt x="260101" y="56073"/>
                </a:cubicBezTo>
                <a:lnTo>
                  <a:pt x="260101" y="26996"/>
                </a:lnTo>
                <a:close/>
                <a:moveTo>
                  <a:pt x="51714" y="12662"/>
                </a:moveTo>
                <a:lnTo>
                  <a:pt x="266267" y="12662"/>
                </a:lnTo>
                <a:lnTo>
                  <a:pt x="266267" y="13071"/>
                </a:lnTo>
                <a:cubicBezTo>
                  <a:pt x="267911" y="12662"/>
                  <a:pt x="269966" y="13071"/>
                  <a:pt x="271610" y="14300"/>
                </a:cubicBezTo>
                <a:lnTo>
                  <a:pt x="374776" y="91293"/>
                </a:lnTo>
                <a:cubicBezTo>
                  <a:pt x="376420" y="92932"/>
                  <a:pt x="377653" y="94979"/>
                  <a:pt x="377653" y="97027"/>
                </a:cubicBezTo>
                <a:lnTo>
                  <a:pt x="377653" y="452098"/>
                </a:lnTo>
                <a:lnTo>
                  <a:pt x="377653" y="493462"/>
                </a:lnTo>
                <a:lnTo>
                  <a:pt x="377653" y="524588"/>
                </a:lnTo>
                <a:cubicBezTo>
                  <a:pt x="377653" y="536464"/>
                  <a:pt x="368200" y="545884"/>
                  <a:pt x="356691" y="545884"/>
                </a:cubicBezTo>
                <a:lnTo>
                  <a:pt x="51714" y="545884"/>
                </a:lnTo>
                <a:cubicBezTo>
                  <a:pt x="40206" y="545884"/>
                  <a:pt x="30752" y="536464"/>
                  <a:pt x="30752" y="524588"/>
                </a:cubicBezTo>
                <a:lnTo>
                  <a:pt x="30752" y="493462"/>
                </a:lnTo>
                <a:lnTo>
                  <a:pt x="30752" y="389029"/>
                </a:lnTo>
                <a:lnTo>
                  <a:pt x="30752" y="33958"/>
                </a:lnTo>
                <a:cubicBezTo>
                  <a:pt x="30752" y="22081"/>
                  <a:pt x="40206" y="12662"/>
                  <a:pt x="51714" y="12662"/>
                </a:cubicBezTo>
                <a:close/>
                <a:moveTo>
                  <a:pt x="345094" y="0"/>
                </a:moveTo>
                <a:cubicBezTo>
                  <a:pt x="349205" y="0"/>
                  <a:pt x="352494" y="3289"/>
                  <a:pt x="352494" y="6989"/>
                </a:cubicBezTo>
                <a:lnTo>
                  <a:pt x="352494" y="19733"/>
                </a:lnTo>
                <a:lnTo>
                  <a:pt x="365238" y="19733"/>
                </a:lnTo>
                <a:cubicBezTo>
                  <a:pt x="368938" y="19733"/>
                  <a:pt x="372227" y="23433"/>
                  <a:pt x="372227" y="27133"/>
                </a:cubicBezTo>
                <a:cubicBezTo>
                  <a:pt x="372227" y="30833"/>
                  <a:pt x="368938" y="34122"/>
                  <a:pt x="365238" y="34122"/>
                </a:cubicBezTo>
                <a:lnTo>
                  <a:pt x="352494" y="34122"/>
                </a:lnTo>
                <a:lnTo>
                  <a:pt x="352494" y="46867"/>
                </a:lnTo>
                <a:cubicBezTo>
                  <a:pt x="352494" y="50978"/>
                  <a:pt x="349205" y="53856"/>
                  <a:pt x="345094" y="53856"/>
                </a:cubicBezTo>
                <a:cubicBezTo>
                  <a:pt x="341393" y="53856"/>
                  <a:pt x="338105" y="50978"/>
                  <a:pt x="338105" y="46867"/>
                </a:cubicBezTo>
                <a:lnTo>
                  <a:pt x="338105" y="34122"/>
                </a:lnTo>
                <a:lnTo>
                  <a:pt x="325360" y="34122"/>
                </a:lnTo>
                <a:cubicBezTo>
                  <a:pt x="321660" y="34122"/>
                  <a:pt x="318371" y="30833"/>
                  <a:pt x="318371" y="27133"/>
                </a:cubicBezTo>
                <a:cubicBezTo>
                  <a:pt x="318371" y="23433"/>
                  <a:pt x="321660" y="19733"/>
                  <a:pt x="325360" y="19733"/>
                </a:cubicBezTo>
                <a:lnTo>
                  <a:pt x="338105" y="19733"/>
                </a:lnTo>
                <a:lnTo>
                  <a:pt x="338105" y="6989"/>
                </a:lnTo>
                <a:cubicBezTo>
                  <a:pt x="338105" y="3289"/>
                  <a:pt x="341393" y="0"/>
                  <a:pt x="345094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7" name="Freeform 4">
            <a:extLst>
              <a:ext uri="{FF2B5EF4-FFF2-40B4-BE49-F238E27FC236}">
                <a16:creationId xmlns:a16="http://schemas.microsoft.com/office/drawing/2014/main" id="{D1F069E2-5DA7-4600-85A2-489EAB2FD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88" y="5905504"/>
            <a:ext cx="648236" cy="639643"/>
          </a:xfrm>
          <a:custGeom>
            <a:avLst/>
            <a:gdLst>
              <a:gd name="connsiteX0" fmla="*/ 235485 w 545883"/>
              <a:gd name="connsiteY0" fmla="*/ 393071 h 538647"/>
              <a:gd name="connsiteX1" fmla="*/ 216729 w 545883"/>
              <a:gd name="connsiteY1" fmla="*/ 412230 h 538647"/>
              <a:gd name="connsiteX2" fmla="*/ 228146 w 545883"/>
              <a:gd name="connsiteY2" fmla="*/ 412230 h 538647"/>
              <a:gd name="connsiteX3" fmla="*/ 235485 w 545883"/>
              <a:gd name="connsiteY3" fmla="*/ 404893 h 538647"/>
              <a:gd name="connsiteX4" fmla="*/ 442901 w 545883"/>
              <a:gd name="connsiteY4" fmla="*/ 392534 h 538647"/>
              <a:gd name="connsiteX5" fmla="*/ 449853 w 545883"/>
              <a:gd name="connsiteY5" fmla="*/ 399828 h 538647"/>
              <a:gd name="connsiteX6" fmla="*/ 449853 w 545883"/>
              <a:gd name="connsiteY6" fmla="*/ 428597 h 538647"/>
              <a:gd name="connsiteX7" fmla="*/ 475619 w 545883"/>
              <a:gd name="connsiteY7" fmla="*/ 428597 h 538647"/>
              <a:gd name="connsiteX8" fmla="*/ 482571 w 545883"/>
              <a:gd name="connsiteY8" fmla="*/ 435485 h 538647"/>
              <a:gd name="connsiteX9" fmla="*/ 475619 w 545883"/>
              <a:gd name="connsiteY9" fmla="*/ 442779 h 538647"/>
              <a:gd name="connsiteX10" fmla="*/ 442901 w 545883"/>
              <a:gd name="connsiteY10" fmla="*/ 442779 h 538647"/>
              <a:gd name="connsiteX11" fmla="*/ 435948 w 545883"/>
              <a:gd name="connsiteY11" fmla="*/ 435485 h 538647"/>
              <a:gd name="connsiteX12" fmla="*/ 435948 w 545883"/>
              <a:gd name="connsiteY12" fmla="*/ 399828 h 538647"/>
              <a:gd name="connsiteX13" fmla="*/ 442901 w 545883"/>
              <a:gd name="connsiteY13" fmla="*/ 392534 h 538647"/>
              <a:gd name="connsiteX14" fmla="*/ 444089 w 545883"/>
              <a:gd name="connsiteY14" fmla="*/ 385180 h 538647"/>
              <a:gd name="connsiteX15" fmla="*/ 392416 w 545883"/>
              <a:gd name="connsiteY15" fmla="*/ 436443 h 538647"/>
              <a:gd name="connsiteX16" fmla="*/ 444089 w 545883"/>
              <a:gd name="connsiteY16" fmla="*/ 488115 h 538647"/>
              <a:gd name="connsiteX17" fmla="*/ 495351 w 545883"/>
              <a:gd name="connsiteY17" fmla="*/ 436443 h 538647"/>
              <a:gd name="connsiteX18" fmla="*/ 444089 w 545883"/>
              <a:gd name="connsiteY18" fmla="*/ 385180 h 538647"/>
              <a:gd name="connsiteX19" fmla="*/ 444089 w 545883"/>
              <a:gd name="connsiteY19" fmla="*/ 370827 h 538647"/>
              <a:gd name="connsiteX20" fmla="*/ 509704 w 545883"/>
              <a:gd name="connsiteY20" fmla="*/ 436443 h 538647"/>
              <a:gd name="connsiteX21" fmla="*/ 444089 w 545883"/>
              <a:gd name="connsiteY21" fmla="*/ 502468 h 538647"/>
              <a:gd name="connsiteX22" fmla="*/ 378063 w 545883"/>
              <a:gd name="connsiteY22" fmla="*/ 436443 h 538647"/>
              <a:gd name="connsiteX23" fmla="*/ 444089 w 545883"/>
              <a:gd name="connsiteY23" fmla="*/ 370827 h 538647"/>
              <a:gd name="connsiteX24" fmla="*/ 231000 w 545883"/>
              <a:gd name="connsiteY24" fmla="*/ 359236 h 538647"/>
              <a:gd name="connsiteX25" fmla="*/ 228961 w 545883"/>
              <a:gd name="connsiteY25" fmla="*/ 360459 h 538647"/>
              <a:gd name="connsiteX26" fmla="*/ 204904 w 545883"/>
              <a:gd name="connsiteY26" fmla="*/ 384918 h 538647"/>
              <a:gd name="connsiteX27" fmla="*/ 196749 w 545883"/>
              <a:gd name="connsiteY27" fmla="*/ 388179 h 538647"/>
              <a:gd name="connsiteX28" fmla="*/ 188594 w 545883"/>
              <a:gd name="connsiteY28" fmla="*/ 384918 h 538647"/>
              <a:gd name="connsiteX29" fmla="*/ 182886 w 545883"/>
              <a:gd name="connsiteY29" fmla="*/ 379210 h 538647"/>
              <a:gd name="connsiteX30" fmla="*/ 180439 w 545883"/>
              <a:gd name="connsiteY30" fmla="*/ 377988 h 538647"/>
              <a:gd name="connsiteX31" fmla="*/ 179216 w 545883"/>
              <a:gd name="connsiteY31" fmla="*/ 377580 h 538647"/>
              <a:gd name="connsiteX32" fmla="*/ 177993 w 545883"/>
              <a:gd name="connsiteY32" fmla="*/ 377580 h 538647"/>
              <a:gd name="connsiteX33" fmla="*/ 175954 w 545883"/>
              <a:gd name="connsiteY33" fmla="*/ 377580 h 538647"/>
              <a:gd name="connsiteX34" fmla="*/ 175546 w 545883"/>
              <a:gd name="connsiteY34" fmla="*/ 377580 h 538647"/>
              <a:gd name="connsiteX35" fmla="*/ 173916 w 545883"/>
              <a:gd name="connsiteY35" fmla="*/ 378803 h 538647"/>
              <a:gd name="connsiteX36" fmla="*/ 173508 w 545883"/>
              <a:gd name="connsiteY36" fmla="*/ 379210 h 538647"/>
              <a:gd name="connsiteX37" fmla="*/ 173100 w 545883"/>
              <a:gd name="connsiteY37" fmla="*/ 379618 h 538647"/>
              <a:gd name="connsiteX38" fmla="*/ 173508 w 545883"/>
              <a:gd name="connsiteY38" fmla="*/ 388994 h 538647"/>
              <a:gd name="connsiteX39" fmla="*/ 189002 w 545883"/>
              <a:gd name="connsiteY39" fmla="*/ 404485 h 538647"/>
              <a:gd name="connsiteX40" fmla="*/ 201234 w 545883"/>
              <a:gd name="connsiteY40" fmla="*/ 406523 h 538647"/>
              <a:gd name="connsiteX41" fmla="*/ 204496 w 545883"/>
              <a:gd name="connsiteY41" fmla="*/ 404485 h 538647"/>
              <a:gd name="connsiteX42" fmla="*/ 230592 w 545883"/>
              <a:gd name="connsiteY42" fmla="*/ 377580 h 538647"/>
              <a:gd name="connsiteX43" fmla="*/ 238339 w 545883"/>
              <a:gd name="connsiteY43" fmla="*/ 370242 h 538647"/>
              <a:gd name="connsiteX44" fmla="*/ 240378 w 545883"/>
              <a:gd name="connsiteY44" fmla="*/ 365351 h 538647"/>
              <a:gd name="connsiteX45" fmla="*/ 238339 w 545883"/>
              <a:gd name="connsiteY45" fmla="*/ 360459 h 538647"/>
              <a:gd name="connsiteX46" fmla="*/ 236301 w 545883"/>
              <a:gd name="connsiteY46" fmla="*/ 359236 h 538647"/>
              <a:gd name="connsiteX47" fmla="*/ 235485 w 545883"/>
              <a:gd name="connsiteY47" fmla="*/ 359236 h 538647"/>
              <a:gd name="connsiteX48" fmla="*/ 233854 w 545883"/>
              <a:gd name="connsiteY48" fmla="*/ 359236 h 538647"/>
              <a:gd name="connsiteX49" fmla="*/ 233446 w 545883"/>
              <a:gd name="connsiteY49" fmla="*/ 359236 h 538647"/>
              <a:gd name="connsiteX50" fmla="*/ 231408 w 545883"/>
              <a:gd name="connsiteY50" fmla="*/ 359236 h 538647"/>
              <a:gd name="connsiteX51" fmla="*/ 231000 w 545883"/>
              <a:gd name="connsiteY51" fmla="*/ 359236 h 538647"/>
              <a:gd name="connsiteX52" fmla="*/ 182886 w 545883"/>
              <a:gd name="connsiteY52" fmla="*/ 354344 h 538647"/>
              <a:gd name="connsiteX53" fmla="*/ 175954 w 545883"/>
              <a:gd name="connsiteY53" fmla="*/ 361274 h 538647"/>
              <a:gd name="connsiteX54" fmla="*/ 175954 w 545883"/>
              <a:gd name="connsiteY54" fmla="*/ 363312 h 538647"/>
              <a:gd name="connsiteX55" fmla="*/ 176770 w 545883"/>
              <a:gd name="connsiteY55" fmla="*/ 363312 h 538647"/>
              <a:gd name="connsiteX56" fmla="*/ 180032 w 545883"/>
              <a:gd name="connsiteY56" fmla="*/ 363312 h 538647"/>
              <a:gd name="connsiteX57" fmla="*/ 180847 w 545883"/>
              <a:gd name="connsiteY57" fmla="*/ 363312 h 538647"/>
              <a:gd name="connsiteX58" fmla="*/ 184109 w 545883"/>
              <a:gd name="connsiteY58" fmla="*/ 364128 h 538647"/>
              <a:gd name="connsiteX59" fmla="*/ 184925 w 545883"/>
              <a:gd name="connsiteY59" fmla="*/ 364535 h 538647"/>
              <a:gd name="connsiteX60" fmla="*/ 188187 w 545883"/>
              <a:gd name="connsiteY60" fmla="*/ 366166 h 538647"/>
              <a:gd name="connsiteX61" fmla="*/ 189410 w 545883"/>
              <a:gd name="connsiteY61" fmla="*/ 366166 h 538647"/>
              <a:gd name="connsiteX62" fmla="*/ 192672 w 545883"/>
              <a:gd name="connsiteY62" fmla="*/ 369427 h 538647"/>
              <a:gd name="connsiteX63" fmla="*/ 196749 w 545883"/>
              <a:gd name="connsiteY63" fmla="*/ 373096 h 538647"/>
              <a:gd name="connsiteX64" fmla="*/ 215098 w 545883"/>
              <a:gd name="connsiteY64" fmla="*/ 354344 h 538647"/>
              <a:gd name="connsiteX65" fmla="*/ 64752 w 545883"/>
              <a:gd name="connsiteY65" fmla="*/ 354344 h 538647"/>
              <a:gd name="connsiteX66" fmla="*/ 57776 w 545883"/>
              <a:gd name="connsiteY66" fmla="*/ 361274 h 538647"/>
              <a:gd name="connsiteX67" fmla="*/ 57776 w 545883"/>
              <a:gd name="connsiteY67" fmla="*/ 404893 h 538647"/>
              <a:gd name="connsiteX68" fmla="*/ 64752 w 545883"/>
              <a:gd name="connsiteY68" fmla="*/ 412230 h 538647"/>
              <a:gd name="connsiteX69" fmla="*/ 110301 w 545883"/>
              <a:gd name="connsiteY69" fmla="*/ 412230 h 538647"/>
              <a:gd name="connsiteX70" fmla="*/ 117277 w 545883"/>
              <a:gd name="connsiteY70" fmla="*/ 404893 h 538647"/>
              <a:gd name="connsiteX71" fmla="*/ 117277 w 545883"/>
              <a:gd name="connsiteY71" fmla="*/ 361274 h 538647"/>
              <a:gd name="connsiteX72" fmla="*/ 110301 w 545883"/>
              <a:gd name="connsiteY72" fmla="*/ 354344 h 538647"/>
              <a:gd name="connsiteX73" fmla="*/ 301779 w 545883"/>
              <a:gd name="connsiteY73" fmla="*/ 340077 h 538647"/>
              <a:gd name="connsiteX74" fmla="*/ 347457 w 545883"/>
              <a:gd name="connsiteY74" fmla="*/ 340077 h 538647"/>
              <a:gd name="connsiteX75" fmla="*/ 364328 w 545883"/>
              <a:gd name="connsiteY75" fmla="*/ 348637 h 538647"/>
              <a:gd name="connsiteX76" fmla="*/ 362682 w 545883"/>
              <a:gd name="connsiteY76" fmla="*/ 358013 h 538647"/>
              <a:gd name="connsiteX77" fmla="*/ 352806 w 545883"/>
              <a:gd name="connsiteY77" fmla="*/ 356790 h 538647"/>
              <a:gd name="connsiteX78" fmla="*/ 347457 w 545883"/>
              <a:gd name="connsiteY78" fmla="*/ 354344 h 538647"/>
              <a:gd name="connsiteX79" fmla="*/ 301779 w 545883"/>
              <a:gd name="connsiteY79" fmla="*/ 354344 h 538647"/>
              <a:gd name="connsiteX80" fmla="*/ 294372 w 545883"/>
              <a:gd name="connsiteY80" fmla="*/ 361274 h 538647"/>
              <a:gd name="connsiteX81" fmla="*/ 294372 w 545883"/>
              <a:gd name="connsiteY81" fmla="*/ 404893 h 538647"/>
              <a:gd name="connsiteX82" fmla="*/ 301779 w 545883"/>
              <a:gd name="connsiteY82" fmla="*/ 412230 h 538647"/>
              <a:gd name="connsiteX83" fmla="*/ 326058 w 545883"/>
              <a:gd name="connsiteY83" fmla="*/ 412230 h 538647"/>
              <a:gd name="connsiteX84" fmla="*/ 333054 w 545883"/>
              <a:gd name="connsiteY84" fmla="*/ 419160 h 538647"/>
              <a:gd name="connsiteX85" fmla="*/ 326058 w 545883"/>
              <a:gd name="connsiteY85" fmla="*/ 426498 h 538647"/>
              <a:gd name="connsiteX86" fmla="*/ 301779 w 545883"/>
              <a:gd name="connsiteY86" fmla="*/ 426498 h 538647"/>
              <a:gd name="connsiteX87" fmla="*/ 280381 w 545883"/>
              <a:gd name="connsiteY87" fmla="*/ 404893 h 538647"/>
              <a:gd name="connsiteX88" fmla="*/ 280381 w 545883"/>
              <a:gd name="connsiteY88" fmla="*/ 361274 h 538647"/>
              <a:gd name="connsiteX89" fmla="*/ 301779 w 545883"/>
              <a:gd name="connsiteY89" fmla="*/ 340077 h 538647"/>
              <a:gd name="connsiteX90" fmla="*/ 182886 w 545883"/>
              <a:gd name="connsiteY90" fmla="*/ 340077 h 538647"/>
              <a:gd name="connsiteX91" fmla="*/ 228146 w 545883"/>
              <a:gd name="connsiteY91" fmla="*/ 340077 h 538647"/>
              <a:gd name="connsiteX92" fmla="*/ 244863 w 545883"/>
              <a:gd name="connsiteY92" fmla="*/ 347822 h 538647"/>
              <a:gd name="connsiteX93" fmla="*/ 248533 w 545883"/>
              <a:gd name="connsiteY93" fmla="*/ 350675 h 538647"/>
              <a:gd name="connsiteX94" fmla="*/ 254649 w 545883"/>
              <a:gd name="connsiteY94" fmla="*/ 365351 h 538647"/>
              <a:gd name="connsiteX95" fmla="*/ 249756 w 545883"/>
              <a:gd name="connsiteY95" fmla="*/ 378803 h 538647"/>
              <a:gd name="connsiteX96" fmla="*/ 249756 w 545883"/>
              <a:gd name="connsiteY96" fmla="*/ 404893 h 538647"/>
              <a:gd name="connsiteX97" fmla="*/ 228146 w 545883"/>
              <a:gd name="connsiteY97" fmla="*/ 426498 h 538647"/>
              <a:gd name="connsiteX98" fmla="*/ 182886 w 545883"/>
              <a:gd name="connsiteY98" fmla="*/ 426498 h 538647"/>
              <a:gd name="connsiteX99" fmla="*/ 161683 w 545883"/>
              <a:gd name="connsiteY99" fmla="*/ 404893 h 538647"/>
              <a:gd name="connsiteX100" fmla="*/ 161683 w 545883"/>
              <a:gd name="connsiteY100" fmla="*/ 397147 h 538647"/>
              <a:gd name="connsiteX101" fmla="*/ 161683 w 545883"/>
              <a:gd name="connsiteY101" fmla="*/ 371058 h 538647"/>
              <a:gd name="connsiteX102" fmla="*/ 161683 w 545883"/>
              <a:gd name="connsiteY102" fmla="*/ 361274 h 538647"/>
              <a:gd name="connsiteX103" fmla="*/ 182886 w 545883"/>
              <a:gd name="connsiteY103" fmla="*/ 340077 h 538647"/>
              <a:gd name="connsiteX104" fmla="*/ 64752 w 545883"/>
              <a:gd name="connsiteY104" fmla="*/ 340077 h 538647"/>
              <a:gd name="connsiteX105" fmla="*/ 110301 w 545883"/>
              <a:gd name="connsiteY105" fmla="*/ 340077 h 538647"/>
              <a:gd name="connsiteX106" fmla="*/ 131640 w 545883"/>
              <a:gd name="connsiteY106" fmla="*/ 361274 h 538647"/>
              <a:gd name="connsiteX107" fmla="*/ 131640 w 545883"/>
              <a:gd name="connsiteY107" fmla="*/ 404893 h 538647"/>
              <a:gd name="connsiteX108" fmla="*/ 110301 w 545883"/>
              <a:gd name="connsiteY108" fmla="*/ 426498 h 538647"/>
              <a:gd name="connsiteX109" fmla="*/ 64752 w 545883"/>
              <a:gd name="connsiteY109" fmla="*/ 426498 h 538647"/>
              <a:gd name="connsiteX110" fmla="*/ 43414 w 545883"/>
              <a:gd name="connsiteY110" fmla="*/ 404893 h 538647"/>
              <a:gd name="connsiteX111" fmla="*/ 43414 w 545883"/>
              <a:gd name="connsiteY111" fmla="*/ 361274 h 538647"/>
              <a:gd name="connsiteX112" fmla="*/ 64752 w 545883"/>
              <a:gd name="connsiteY112" fmla="*/ 340077 h 538647"/>
              <a:gd name="connsiteX113" fmla="*/ 443540 w 545883"/>
              <a:gd name="connsiteY113" fmla="*/ 332841 h 538647"/>
              <a:gd name="connsiteX114" fmla="*/ 545883 w 545883"/>
              <a:gd name="connsiteY114" fmla="*/ 435539 h 538647"/>
              <a:gd name="connsiteX115" fmla="*/ 443540 w 545883"/>
              <a:gd name="connsiteY115" fmla="*/ 538647 h 538647"/>
              <a:gd name="connsiteX116" fmla="*/ 341198 w 545883"/>
              <a:gd name="connsiteY116" fmla="*/ 442933 h 538647"/>
              <a:gd name="connsiteX117" fmla="*/ 347748 w 545883"/>
              <a:gd name="connsiteY117" fmla="*/ 435128 h 538647"/>
              <a:gd name="connsiteX118" fmla="*/ 355526 w 545883"/>
              <a:gd name="connsiteY118" fmla="*/ 442112 h 538647"/>
              <a:gd name="connsiteX119" fmla="*/ 443540 w 545883"/>
              <a:gd name="connsiteY119" fmla="*/ 524270 h 538647"/>
              <a:gd name="connsiteX120" fmla="*/ 531145 w 545883"/>
              <a:gd name="connsiteY120" fmla="*/ 435539 h 538647"/>
              <a:gd name="connsiteX121" fmla="*/ 443540 w 545883"/>
              <a:gd name="connsiteY121" fmla="*/ 347218 h 538647"/>
              <a:gd name="connsiteX122" fmla="*/ 366988 w 545883"/>
              <a:gd name="connsiteY122" fmla="*/ 390762 h 538647"/>
              <a:gd name="connsiteX123" fmla="*/ 373947 w 545883"/>
              <a:gd name="connsiteY123" fmla="*/ 386654 h 538647"/>
              <a:gd name="connsiteX124" fmla="*/ 383363 w 545883"/>
              <a:gd name="connsiteY124" fmla="*/ 388708 h 538647"/>
              <a:gd name="connsiteX125" fmla="*/ 381316 w 545883"/>
              <a:gd name="connsiteY125" fmla="*/ 398568 h 538647"/>
              <a:gd name="connsiteX126" fmla="*/ 355116 w 545883"/>
              <a:gd name="connsiteY126" fmla="*/ 414999 h 538647"/>
              <a:gd name="connsiteX127" fmla="*/ 351432 w 545883"/>
              <a:gd name="connsiteY127" fmla="*/ 416232 h 538647"/>
              <a:gd name="connsiteX128" fmla="*/ 348976 w 545883"/>
              <a:gd name="connsiteY128" fmla="*/ 415821 h 538647"/>
              <a:gd name="connsiteX129" fmla="*/ 344882 w 545883"/>
              <a:gd name="connsiteY129" fmla="*/ 411302 h 538647"/>
              <a:gd name="connsiteX130" fmla="*/ 335467 w 545883"/>
              <a:gd name="connsiteY130" fmla="*/ 382546 h 538647"/>
              <a:gd name="connsiteX131" fmla="*/ 340379 w 545883"/>
              <a:gd name="connsiteY131" fmla="*/ 373509 h 538647"/>
              <a:gd name="connsiteX132" fmla="*/ 349385 w 545883"/>
              <a:gd name="connsiteY132" fmla="*/ 378028 h 538647"/>
              <a:gd name="connsiteX133" fmla="*/ 352251 w 545883"/>
              <a:gd name="connsiteY133" fmla="*/ 388298 h 538647"/>
              <a:gd name="connsiteX134" fmla="*/ 443540 w 545883"/>
              <a:gd name="connsiteY134" fmla="*/ 332841 h 538647"/>
              <a:gd name="connsiteX135" fmla="*/ 117905 w 545883"/>
              <a:gd name="connsiteY135" fmla="*/ 289960 h 538647"/>
              <a:gd name="connsiteX136" fmla="*/ 99148 w 545883"/>
              <a:gd name="connsiteY136" fmla="*/ 309120 h 538647"/>
              <a:gd name="connsiteX137" fmla="*/ 110973 w 545883"/>
              <a:gd name="connsiteY137" fmla="*/ 309120 h 538647"/>
              <a:gd name="connsiteX138" fmla="*/ 117905 w 545883"/>
              <a:gd name="connsiteY138" fmla="*/ 302190 h 538647"/>
              <a:gd name="connsiteX139" fmla="*/ 115458 w 545883"/>
              <a:gd name="connsiteY139" fmla="*/ 255718 h 538647"/>
              <a:gd name="connsiteX140" fmla="*/ 114235 w 545883"/>
              <a:gd name="connsiteY140" fmla="*/ 256126 h 538647"/>
              <a:gd name="connsiteX141" fmla="*/ 113420 w 545883"/>
              <a:gd name="connsiteY141" fmla="*/ 256126 h 538647"/>
              <a:gd name="connsiteX142" fmla="*/ 111381 w 545883"/>
              <a:gd name="connsiteY142" fmla="*/ 257349 h 538647"/>
              <a:gd name="connsiteX143" fmla="*/ 110973 w 545883"/>
              <a:gd name="connsiteY143" fmla="*/ 257757 h 538647"/>
              <a:gd name="connsiteX144" fmla="*/ 87324 w 545883"/>
              <a:gd name="connsiteY144" fmla="*/ 281808 h 538647"/>
              <a:gd name="connsiteX145" fmla="*/ 71014 w 545883"/>
              <a:gd name="connsiteY145" fmla="*/ 281808 h 538647"/>
              <a:gd name="connsiteX146" fmla="*/ 65305 w 545883"/>
              <a:gd name="connsiteY146" fmla="*/ 276508 h 538647"/>
              <a:gd name="connsiteX147" fmla="*/ 63266 w 545883"/>
              <a:gd name="connsiteY147" fmla="*/ 274878 h 538647"/>
              <a:gd name="connsiteX148" fmla="*/ 61228 w 545883"/>
              <a:gd name="connsiteY148" fmla="*/ 274470 h 538647"/>
              <a:gd name="connsiteX149" fmla="*/ 60820 w 545883"/>
              <a:gd name="connsiteY149" fmla="*/ 274470 h 538647"/>
              <a:gd name="connsiteX150" fmla="*/ 58373 w 545883"/>
              <a:gd name="connsiteY150" fmla="*/ 274878 h 538647"/>
              <a:gd name="connsiteX151" fmla="*/ 56335 w 545883"/>
              <a:gd name="connsiteY151" fmla="*/ 276100 h 538647"/>
              <a:gd name="connsiteX152" fmla="*/ 55927 w 545883"/>
              <a:gd name="connsiteY152" fmla="*/ 276100 h 538647"/>
              <a:gd name="connsiteX153" fmla="*/ 55519 w 545883"/>
              <a:gd name="connsiteY153" fmla="*/ 276508 h 538647"/>
              <a:gd name="connsiteX154" fmla="*/ 55519 w 545883"/>
              <a:gd name="connsiteY154" fmla="*/ 285884 h 538647"/>
              <a:gd name="connsiteX155" fmla="*/ 58373 w 545883"/>
              <a:gd name="connsiteY155" fmla="*/ 288737 h 538647"/>
              <a:gd name="connsiteX156" fmla="*/ 71421 w 545883"/>
              <a:gd name="connsiteY156" fmla="*/ 301374 h 538647"/>
              <a:gd name="connsiteX157" fmla="*/ 75499 w 545883"/>
              <a:gd name="connsiteY157" fmla="*/ 303820 h 538647"/>
              <a:gd name="connsiteX158" fmla="*/ 86508 w 545883"/>
              <a:gd name="connsiteY158" fmla="*/ 301374 h 538647"/>
              <a:gd name="connsiteX159" fmla="*/ 104449 w 545883"/>
              <a:gd name="connsiteY159" fmla="*/ 283438 h 538647"/>
              <a:gd name="connsiteX160" fmla="*/ 120759 w 545883"/>
              <a:gd name="connsiteY160" fmla="*/ 267132 h 538647"/>
              <a:gd name="connsiteX161" fmla="*/ 122798 w 545883"/>
              <a:gd name="connsiteY161" fmla="*/ 262241 h 538647"/>
              <a:gd name="connsiteX162" fmla="*/ 120759 w 545883"/>
              <a:gd name="connsiteY162" fmla="*/ 257757 h 538647"/>
              <a:gd name="connsiteX163" fmla="*/ 119128 w 545883"/>
              <a:gd name="connsiteY163" fmla="*/ 256534 h 538647"/>
              <a:gd name="connsiteX164" fmla="*/ 117905 w 545883"/>
              <a:gd name="connsiteY164" fmla="*/ 256126 h 538647"/>
              <a:gd name="connsiteX165" fmla="*/ 116682 w 545883"/>
              <a:gd name="connsiteY165" fmla="*/ 256126 h 538647"/>
              <a:gd name="connsiteX166" fmla="*/ 115458 w 545883"/>
              <a:gd name="connsiteY166" fmla="*/ 255718 h 538647"/>
              <a:gd name="connsiteX167" fmla="*/ 301819 w 545883"/>
              <a:gd name="connsiteY167" fmla="*/ 251642 h 538647"/>
              <a:gd name="connsiteX168" fmla="*/ 294398 w 545883"/>
              <a:gd name="connsiteY168" fmla="*/ 258572 h 538647"/>
              <a:gd name="connsiteX169" fmla="*/ 294398 w 545883"/>
              <a:gd name="connsiteY169" fmla="*/ 302190 h 538647"/>
              <a:gd name="connsiteX170" fmla="*/ 301819 w 545883"/>
              <a:gd name="connsiteY170" fmla="*/ 309120 h 538647"/>
              <a:gd name="connsiteX171" fmla="*/ 347581 w 545883"/>
              <a:gd name="connsiteY171" fmla="*/ 309120 h 538647"/>
              <a:gd name="connsiteX172" fmla="*/ 354589 w 545883"/>
              <a:gd name="connsiteY172" fmla="*/ 302190 h 538647"/>
              <a:gd name="connsiteX173" fmla="*/ 354589 w 545883"/>
              <a:gd name="connsiteY173" fmla="*/ 258572 h 538647"/>
              <a:gd name="connsiteX174" fmla="*/ 347581 w 545883"/>
              <a:gd name="connsiteY174" fmla="*/ 251642 h 538647"/>
              <a:gd name="connsiteX175" fmla="*/ 184043 w 545883"/>
              <a:gd name="connsiteY175" fmla="*/ 251642 h 538647"/>
              <a:gd name="connsiteX176" fmla="*/ 177099 w 545883"/>
              <a:gd name="connsiteY176" fmla="*/ 258572 h 538647"/>
              <a:gd name="connsiteX177" fmla="*/ 177099 w 545883"/>
              <a:gd name="connsiteY177" fmla="*/ 302190 h 538647"/>
              <a:gd name="connsiteX178" fmla="*/ 184043 w 545883"/>
              <a:gd name="connsiteY178" fmla="*/ 309120 h 538647"/>
              <a:gd name="connsiteX179" fmla="*/ 229382 w 545883"/>
              <a:gd name="connsiteY179" fmla="*/ 309120 h 538647"/>
              <a:gd name="connsiteX180" fmla="*/ 236734 w 545883"/>
              <a:gd name="connsiteY180" fmla="*/ 302190 h 538647"/>
              <a:gd name="connsiteX181" fmla="*/ 236734 w 545883"/>
              <a:gd name="connsiteY181" fmla="*/ 258572 h 538647"/>
              <a:gd name="connsiteX182" fmla="*/ 229382 w 545883"/>
              <a:gd name="connsiteY182" fmla="*/ 251642 h 538647"/>
              <a:gd name="connsiteX183" fmla="*/ 65713 w 545883"/>
              <a:gd name="connsiteY183" fmla="*/ 251642 h 538647"/>
              <a:gd name="connsiteX184" fmla="*/ 58781 w 545883"/>
              <a:gd name="connsiteY184" fmla="*/ 258572 h 538647"/>
              <a:gd name="connsiteX185" fmla="*/ 58781 w 545883"/>
              <a:gd name="connsiteY185" fmla="*/ 260202 h 538647"/>
              <a:gd name="connsiteX186" fmla="*/ 62451 w 545883"/>
              <a:gd name="connsiteY186" fmla="*/ 260202 h 538647"/>
              <a:gd name="connsiteX187" fmla="*/ 63266 w 545883"/>
              <a:gd name="connsiteY187" fmla="*/ 260610 h 538647"/>
              <a:gd name="connsiteX188" fmla="*/ 66528 w 545883"/>
              <a:gd name="connsiteY188" fmla="*/ 261018 h 538647"/>
              <a:gd name="connsiteX189" fmla="*/ 67752 w 545883"/>
              <a:gd name="connsiteY189" fmla="*/ 261425 h 538647"/>
              <a:gd name="connsiteX190" fmla="*/ 70606 w 545883"/>
              <a:gd name="connsiteY190" fmla="*/ 263056 h 538647"/>
              <a:gd name="connsiteX191" fmla="*/ 71421 w 545883"/>
              <a:gd name="connsiteY191" fmla="*/ 263464 h 538647"/>
              <a:gd name="connsiteX192" fmla="*/ 75091 w 545883"/>
              <a:gd name="connsiteY192" fmla="*/ 266317 h 538647"/>
              <a:gd name="connsiteX193" fmla="*/ 79169 w 545883"/>
              <a:gd name="connsiteY193" fmla="*/ 270393 h 538647"/>
              <a:gd name="connsiteX194" fmla="*/ 97517 w 545883"/>
              <a:gd name="connsiteY194" fmla="*/ 251642 h 538647"/>
              <a:gd name="connsiteX195" fmla="*/ 301819 w 545883"/>
              <a:gd name="connsiteY195" fmla="*/ 236967 h 538647"/>
              <a:gd name="connsiteX196" fmla="*/ 347581 w 545883"/>
              <a:gd name="connsiteY196" fmla="*/ 236967 h 538647"/>
              <a:gd name="connsiteX197" fmla="*/ 368607 w 545883"/>
              <a:gd name="connsiteY197" fmla="*/ 258572 h 538647"/>
              <a:gd name="connsiteX198" fmla="*/ 368607 w 545883"/>
              <a:gd name="connsiteY198" fmla="*/ 302190 h 538647"/>
              <a:gd name="connsiteX199" fmla="*/ 347581 w 545883"/>
              <a:gd name="connsiteY199" fmla="*/ 323387 h 538647"/>
              <a:gd name="connsiteX200" fmla="*/ 301819 w 545883"/>
              <a:gd name="connsiteY200" fmla="*/ 323387 h 538647"/>
              <a:gd name="connsiteX201" fmla="*/ 280381 w 545883"/>
              <a:gd name="connsiteY201" fmla="*/ 302190 h 538647"/>
              <a:gd name="connsiteX202" fmla="*/ 280381 w 545883"/>
              <a:gd name="connsiteY202" fmla="*/ 258572 h 538647"/>
              <a:gd name="connsiteX203" fmla="*/ 301819 w 545883"/>
              <a:gd name="connsiteY203" fmla="*/ 236967 h 538647"/>
              <a:gd name="connsiteX204" fmla="*/ 184043 w 545883"/>
              <a:gd name="connsiteY204" fmla="*/ 236967 h 538647"/>
              <a:gd name="connsiteX205" fmla="*/ 229382 w 545883"/>
              <a:gd name="connsiteY205" fmla="*/ 236967 h 538647"/>
              <a:gd name="connsiteX206" fmla="*/ 251030 w 545883"/>
              <a:gd name="connsiteY206" fmla="*/ 258572 h 538647"/>
              <a:gd name="connsiteX207" fmla="*/ 251030 w 545883"/>
              <a:gd name="connsiteY207" fmla="*/ 302190 h 538647"/>
              <a:gd name="connsiteX208" fmla="*/ 229382 w 545883"/>
              <a:gd name="connsiteY208" fmla="*/ 323387 h 538647"/>
              <a:gd name="connsiteX209" fmla="*/ 184043 w 545883"/>
              <a:gd name="connsiteY209" fmla="*/ 323387 h 538647"/>
              <a:gd name="connsiteX210" fmla="*/ 162803 w 545883"/>
              <a:gd name="connsiteY210" fmla="*/ 302190 h 538647"/>
              <a:gd name="connsiteX211" fmla="*/ 162803 w 545883"/>
              <a:gd name="connsiteY211" fmla="*/ 258572 h 538647"/>
              <a:gd name="connsiteX212" fmla="*/ 184043 w 545883"/>
              <a:gd name="connsiteY212" fmla="*/ 236967 h 538647"/>
              <a:gd name="connsiteX213" fmla="*/ 65713 w 545883"/>
              <a:gd name="connsiteY213" fmla="*/ 236967 h 538647"/>
              <a:gd name="connsiteX214" fmla="*/ 110973 w 545883"/>
              <a:gd name="connsiteY214" fmla="*/ 236967 h 538647"/>
              <a:gd name="connsiteX215" fmla="*/ 127283 w 545883"/>
              <a:gd name="connsiteY215" fmla="*/ 244712 h 538647"/>
              <a:gd name="connsiteX216" fmla="*/ 130953 w 545883"/>
              <a:gd name="connsiteY216" fmla="*/ 247565 h 538647"/>
              <a:gd name="connsiteX217" fmla="*/ 137069 w 545883"/>
              <a:gd name="connsiteY217" fmla="*/ 262241 h 538647"/>
              <a:gd name="connsiteX218" fmla="*/ 132176 w 545883"/>
              <a:gd name="connsiteY218" fmla="*/ 275693 h 538647"/>
              <a:gd name="connsiteX219" fmla="*/ 132176 w 545883"/>
              <a:gd name="connsiteY219" fmla="*/ 302190 h 538647"/>
              <a:gd name="connsiteX220" fmla="*/ 110973 w 545883"/>
              <a:gd name="connsiteY220" fmla="*/ 323387 h 538647"/>
              <a:gd name="connsiteX221" fmla="*/ 65713 w 545883"/>
              <a:gd name="connsiteY221" fmla="*/ 323387 h 538647"/>
              <a:gd name="connsiteX222" fmla="*/ 44510 w 545883"/>
              <a:gd name="connsiteY222" fmla="*/ 302190 h 538647"/>
              <a:gd name="connsiteX223" fmla="*/ 44510 w 545883"/>
              <a:gd name="connsiteY223" fmla="*/ 294444 h 538647"/>
              <a:gd name="connsiteX224" fmla="*/ 44510 w 545883"/>
              <a:gd name="connsiteY224" fmla="*/ 267948 h 538647"/>
              <a:gd name="connsiteX225" fmla="*/ 44510 w 545883"/>
              <a:gd name="connsiteY225" fmla="*/ 258572 h 538647"/>
              <a:gd name="connsiteX226" fmla="*/ 65713 w 545883"/>
              <a:gd name="connsiteY226" fmla="*/ 236967 h 538647"/>
              <a:gd name="connsiteX227" fmla="*/ 301819 w 545883"/>
              <a:gd name="connsiteY227" fmla="*/ 147785 h 538647"/>
              <a:gd name="connsiteX228" fmla="*/ 294398 w 545883"/>
              <a:gd name="connsiteY228" fmla="*/ 155157 h 538647"/>
              <a:gd name="connsiteX229" fmla="*/ 294398 w 545883"/>
              <a:gd name="connsiteY229" fmla="*/ 198981 h 538647"/>
              <a:gd name="connsiteX230" fmla="*/ 301819 w 545883"/>
              <a:gd name="connsiteY230" fmla="*/ 205943 h 538647"/>
              <a:gd name="connsiteX231" fmla="*/ 347581 w 545883"/>
              <a:gd name="connsiteY231" fmla="*/ 205943 h 538647"/>
              <a:gd name="connsiteX232" fmla="*/ 354589 w 545883"/>
              <a:gd name="connsiteY232" fmla="*/ 198981 h 538647"/>
              <a:gd name="connsiteX233" fmla="*/ 354589 w 545883"/>
              <a:gd name="connsiteY233" fmla="*/ 155157 h 538647"/>
              <a:gd name="connsiteX234" fmla="*/ 347581 w 545883"/>
              <a:gd name="connsiteY234" fmla="*/ 147785 h 538647"/>
              <a:gd name="connsiteX235" fmla="*/ 184043 w 545883"/>
              <a:gd name="connsiteY235" fmla="*/ 147785 h 538647"/>
              <a:gd name="connsiteX236" fmla="*/ 177099 w 545883"/>
              <a:gd name="connsiteY236" fmla="*/ 155157 h 538647"/>
              <a:gd name="connsiteX237" fmla="*/ 177099 w 545883"/>
              <a:gd name="connsiteY237" fmla="*/ 198981 h 538647"/>
              <a:gd name="connsiteX238" fmla="*/ 184043 w 545883"/>
              <a:gd name="connsiteY238" fmla="*/ 205943 h 538647"/>
              <a:gd name="connsiteX239" fmla="*/ 229382 w 545883"/>
              <a:gd name="connsiteY239" fmla="*/ 205943 h 538647"/>
              <a:gd name="connsiteX240" fmla="*/ 236734 w 545883"/>
              <a:gd name="connsiteY240" fmla="*/ 198981 h 538647"/>
              <a:gd name="connsiteX241" fmla="*/ 236734 w 545883"/>
              <a:gd name="connsiteY241" fmla="*/ 155157 h 538647"/>
              <a:gd name="connsiteX242" fmla="*/ 229382 w 545883"/>
              <a:gd name="connsiteY242" fmla="*/ 147785 h 538647"/>
              <a:gd name="connsiteX243" fmla="*/ 64752 w 545883"/>
              <a:gd name="connsiteY243" fmla="*/ 147785 h 538647"/>
              <a:gd name="connsiteX244" fmla="*/ 57776 w 545883"/>
              <a:gd name="connsiteY244" fmla="*/ 155157 h 538647"/>
              <a:gd name="connsiteX245" fmla="*/ 57776 w 545883"/>
              <a:gd name="connsiteY245" fmla="*/ 198981 h 538647"/>
              <a:gd name="connsiteX246" fmla="*/ 64752 w 545883"/>
              <a:gd name="connsiteY246" fmla="*/ 205943 h 538647"/>
              <a:gd name="connsiteX247" fmla="*/ 110301 w 545883"/>
              <a:gd name="connsiteY247" fmla="*/ 205943 h 538647"/>
              <a:gd name="connsiteX248" fmla="*/ 117277 w 545883"/>
              <a:gd name="connsiteY248" fmla="*/ 198981 h 538647"/>
              <a:gd name="connsiteX249" fmla="*/ 117277 w 545883"/>
              <a:gd name="connsiteY249" fmla="*/ 155157 h 538647"/>
              <a:gd name="connsiteX250" fmla="*/ 110301 w 545883"/>
              <a:gd name="connsiteY250" fmla="*/ 147785 h 538647"/>
              <a:gd name="connsiteX251" fmla="*/ 301819 w 545883"/>
              <a:gd name="connsiteY251" fmla="*/ 133860 h 538647"/>
              <a:gd name="connsiteX252" fmla="*/ 347581 w 545883"/>
              <a:gd name="connsiteY252" fmla="*/ 133860 h 538647"/>
              <a:gd name="connsiteX253" fmla="*/ 368607 w 545883"/>
              <a:gd name="connsiteY253" fmla="*/ 155157 h 538647"/>
              <a:gd name="connsiteX254" fmla="*/ 368607 w 545883"/>
              <a:gd name="connsiteY254" fmla="*/ 198981 h 538647"/>
              <a:gd name="connsiteX255" fmla="*/ 347581 w 545883"/>
              <a:gd name="connsiteY255" fmla="*/ 220278 h 538647"/>
              <a:gd name="connsiteX256" fmla="*/ 301819 w 545883"/>
              <a:gd name="connsiteY256" fmla="*/ 220278 h 538647"/>
              <a:gd name="connsiteX257" fmla="*/ 280381 w 545883"/>
              <a:gd name="connsiteY257" fmla="*/ 198981 h 538647"/>
              <a:gd name="connsiteX258" fmla="*/ 280381 w 545883"/>
              <a:gd name="connsiteY258" fmla="*/ 155157 h 538647"/>
              <a:gd name="connsiteX259" fmla="*/ 301819 w 545883"/>
              <a:gd name="connsiteY259" fmla="*/ 133860 h 538647"/>
              <a:gd name="connsiteX260" fmla="*/ 184043 w 545883"/>
              <a:gd name="connsiteY260" fmla="*/ 133860 h 538647"/>
              <a:gd name="connsiteX261" fmla="*/ 229382 w 545883"/>
              <a:gd name="connsiteY261" fmla="*/ 133860 h 538647"/>
              <a:gd name="connsiteX262" fmla="*/ 251030 w 545883"/>
              <a:gd name="connsiteY262" fmla="*/ 155157 h 538647"/>
              <a:gd name="connsiteX263" fmla="*/ 251030 w 545883"/>
              <a:gd name="connsiteY263" fmla="*/ 198981 h 538647"/>
              <a:gd name="connsiteX264" fmla="*/ 229382 w 545883"/>
              <a:gd name="connsiteY264" fmla="*/ 220278 h 538647"/>
              <a:gd name="connsiteX265" fmla="*/ 184043 w 545883"/>
              <a:gd name="connsiteY265" fmla="*/ 220278 h 538647"/>
              <a:gd name="connsiteX266" fmla="*/ 162803 w 545883"/>
              <a:gd name="connsiteY266" fmla="*/ 198981 h 538647"/>
              <a:gd name="connsiteX267" fmla="*/ 162803 w 545883"/>
              <a:gd name="connsiteY267" fmla="*/ 155157 h 538647"/>
              <a:gd name="connsiteX268" fmla="*/ 184043 w 545883"/>
              <a:gd name="connsiteY268" fmla="*/ 133860 h 538647"/>
              <a:gd name="connsiteX269" fmla="*/ 64752 w 545883"/>
              <a:gd name="connsiteY269" fmla="*/ 133860 h 538647"/>
              <a:gd name="connsiteX270" fmla="*/ 110301 w 545883"/>
              <a:gd name="connsiteY270" fmla="*/ 133860 h 538647"/>
              <a:gd name="connsiteX271" fmla="*/ 131640 w 545883"/>
              <a:gd name="connsiteY271" fmla="*/ 155157 h 538647"/>
              <a:gd name="connsiteX272" fmla="*/ 131640 w 545883"/>
              <a:gd name="connsiteY272" fmla="*/ 198981 h 538647"/>
              <a:gd name="connsiteX273" fmla="*/ 110301 w 545883"/>
              <a:gd name="connsiteY273" fmla="*/ 220278 h 538647"/>
              <a:gd name="connsiteX274" fmla="*/ 64752 w 545883"/>
              <a:gd name="connsiteY274" fmla="*/ 220278 h 538647"/>
              <a:gd name="connsiteX275" fmla="*/ 43414 w 545883"/>
              <a:gd name="connsiteY275" fmla="*/ 198981 h 538647"/>
              <a:gd name="connsiteX276" fmla="*/ 43414 w 545883"/>
              <a:gd name="connsiteY276" fmla="*/ 155157 h 538647"/>
              <a:gd name="connsiteX277" fmla="*/ 64752 w 545883"/>
              <a:gd name="connsiteY277" fmla="*/ 133860 h 538647"/>
              <a:gd name="connsiteX278" fmla="*/ 32811 w 545883"/>
              <a:gd name="connsiteY278" fmla="*/ 43934 h 538647"/>
              <a:gd name="connsiteX279" fmla="*/ 14355 w 545883"/>
              <a:gd name="connsiteY279" fmla="*/ 62001 h 538647"/>
              <a:gd name="connsiteX280" fmla="*/ 14355 w 545883"/>
              <a:gd name="connsiteY280" fmla="*/ 103472 h 538647"/>
              <a:gd name="connsiteX281" fmla="*/ 399887 w 545883"/>
              <a:gd name="connsiteY281" fmla="*/ 103472 h 538647"/>
              <a:gd name="connsiteX282" fmla="*/ 399887 w 545883"/>
              <a:gd name="connsiteY282" fmla="*/ 62001 h 538647"/>
              <a:gd name="connsiteX283" fmla="*/ 381431 w 545883"/>
              <a:gd name="connsiteY283" fmla="*/ 43934 h 538647"/>
              <a:gd name="connsiteX284" fmla="*/ 353951 w 545883"/>
              <a:gd name="connsiteY284" fmla="*/ 43934 h 538647"/>
              <a:gd name="connsiteX285" fmla="*/ 353951 w 545883"/>
              <a:gd name="connsiteY285" fmla="*/ 52557 h 538647"/>
              <a:gd name="connsiteX286" fmla="*/ 333034 w 545883"/>
              <a:gd name="connsiteY286" fmla="*/ 73498 h 538647"/>
              <a:gd name="connsiteX287" fmla="*/ 312117 w 545883"/>
              <a:gd name="connsiteY287" fmla="*/ 52557 h 538647"/>
              <a:gd name="connsiteX288" fmla="*/ 312117 w 545883"/>
              <a:gd name="connsiteY288" fmla="*/ 43934 h 538647"/>
              <a:gd name="connsiteX289" fmla="*/ 102125 w 545883"/>
              <a:gd name="connsiteY289" fmla="*/ 43934 h 538647"/>
              <a:gd name="connsiteX290" fmla="*/ 102125 w 545883"/>
              <a:gd name="connsiteY290" fmla="*/ 52557 h 538647"/>
              <a:gd name="connsiteX291" fmla="*/ 81208 w 545883"/>
              <a:gd name="connsiteY291" fmla="*/ 73498 h 538647"/>
              <a:gd name="connsiteX292" fmla="*/ 60291 w 545883"/>
              <a:gd name="connsiteY292" fmla="*/ 52557 h 538647"/>
              <a:gd name="connsiteX293" fmla="*/ 60291 w 545883"/>
              <a:gd name="connsiteY293" fmla="*/ 43934 h 538647"/>
              <a:gd name="connsiteX294" fmla="*/ 333034 w 545883"/>
              <a:gd name="connsiteY294" fmla="*/ 13960 h 538647"/>
              <a:gd name="connsiteX295" fmla="*/ 326472 w 545883"/>
              <a:gd name="connsiteY295" fmla="*/ 20941 h 538647"/>
              <a:gd name="connsiteX296" fmla="*/ 326472 w 545883"/>
              <a:gd name="connsiteY296" fmla="*/ 52557 h 538647"/>
              <a:gd name="connsiteX297" fmla="*/ 333034 w 545883"/>
              <a:gd name="connsiteY297" fmla="*/ 59127 h 538647"/>
              <a:gd name="connsiteX298" fmla="*/ 339596 w 545883"/>
              <a:gd name="connsiteY298" fmla="*/ 52557 h 538647"/>
              <a:gd name="connsiteX299" fmla="*/ 339596 w 545883"/>
              <a:gd name="connsiteY299" fmla="*/ 20941 h 538647"/>
              <a:gd name="connsiteX300" fmla="*/ 333034 w 545883"/>
              <a:gd name="connsiteY300" fmla="*/ 13960 h 538647"/>
              <a:gd name="connsiteX301" fmla="*/ 81208 w 545883"/>
              <a:gd name="connsiteY301" fmla="*/ 13960 h 538647"/>
              <a:gd name="connsiteX302" fmla="*/ 74646 w 545883"/>
              <a:gd name="connsiteY302" fmla="*/ 20941 h 538647"/>
              <a:gd name="connsiteX303" fmla="*/ 74646 w 545883"/>
              <a:gd name="connsiteY303" fmla="*/ 52557 h 538647"/>
              <a:gd name="connsiteX304" fmla="*/ 81208 w 545883"/>
              <a:gd name="connsiteY304" fmla="*/ 59127 h 538647"/>
              <a:gd name="connsiteX305" fmla="*/ 88180 w 545883"/>
              <a:gd name="connsiteY305" fmla="*/ 52557 h 538647"/>
              <a:gd name="connsiteX306" fmla="*/ 88180 w 545883"/>
              <a:gd name="connsiteY306" fmla="*/ 20941 h 538647"/>
              <a:gd name="connsiteX307" fmla="*/ 81208 w 545883"/>
              <a:gd name="connsiteY307" fmla="*/ 13960 h 538647"/>
              <a:gd name="connsiteX308" fmla="*/ 81208 w 545883"/>
              <a:gd name="connsiteY308" fmla="*/ 0 h 538647"/>
              <a:gd name="connsiteX309" fmla="*/ 102125 w 545883"/>
              <a:gd name="connsiteY309" fmla="*/ 20941 h 538647"/>
              <a:gd name="connsiteX310" fmla="*/ 102125 w 545883"/>
              <a:gd name="connsiteY310" fmla="*/ 29153 h 538647"/>
              <a:gd name="connsiteX311" fmla="*/ 312117 w 545883"/>
              <a:gd name="connsiteY311" fmla="*/ 29153 h 538647"/>
              <a:gd name="connsiteX312" fmla="*/ 312117 w 545883"/>
              <a:gd name="connsiteY312" fmla="*/ 20941 h 538647"/>
              <a:gd name="connsiteX313" fmla="*/ 333034 w 545883"/>
              <a:gd name="connsiteY313" fmla="*/ 0 h 538647"/>
              <a:gd name="connsiteX314" fmla="*/ 353951 w 545883"/>
              <a:gd name="connsiteY314" fmla="*/ 20941 h 538647"/>
              <a:gd name="connsiteX315" fmla="*/ 353951 w 545883"/>
              <a:gd name="connsiteY315" fmla="*/ 29153 h 538647"/>
              <a:gd name="connsiteX316" fmla="*/ 381431 w 545883"/>
              <a:gd name="connsiteY316" fmla="*/ 29153 h 538647"/>
              <a:gd name="connsiteX317" fmla="*/ 413832 w 545883"/>
              <a:gd name="connsiteY317" fmla="*/ 62001 h 538647"/>
              <a:gd name="connsiteX318" fmla="*/ 413832 w 545883"/>
              <a:gd name="connsiteY318" fmla="*/ 322734 h 538647"/>
              <a:gd name="connsiteX319" fmla="*/ 406859 w 545883"/>
              <a:gd name="connsiteY319" fmla="*/ 330125 h 538647"/>
              <a:gd name="connsiteX320" fmla="*/ 399887 w 545883"/>
              <a:gd name="connsiteY320" fmla="*/ 322734 h 538647"/>
              <a:gd name="connsiteX321" fmla="*/ 399887 w 545883"/>
              <a:gd name="connsiteY321" fmla="*/ 118253 h 538647"/>
              <a:gd name="connsiteX322" fmla="*/ 14355 w 545883"/>
              <a:gd name="connsiteY322" fmla="*/ 118253 h 538647"/>
              <a:gd name="connsiteX323" fmla="*/ 14355 w 545883"/>
              <a:gd name="connsiteY323" fmla="*/ 426206 h 538647"/>
              <a:gd name="connsiteX324" fmla="*/ 32811 w 545883"/>
              <a:gd name="connsiteY324" fmla="*/ 444684 h 538647"/>
              <a:gd name="connsiteX325" fmla="*/ 319499 w 545883"/>
              <a:gd name="connsiteY325" fmla="*/ 444684 h 538647"/>
              <a:gd name="connsiteX326" fmla="*/ 326472 w 545883"/>
              <a:gd name="connsiteY326" fmla="*/ 451664 h 538647"/>
              <a:gd name="connsiteX327" fmla="*/ 319499 w 545883"/>
              <a:gd name="connsiteY327" fmla="*/ 459055 h 538647"/>
              <a:gd name="connsiteX328" fmla="*/ 32811 w 545883"/>
              <a:gd name="connsiteY328" fmla="*/ 459055 h 538647"/>
              <a:gd name="connsiteX329" fmla="*/ 0 w 545883"/>
              <a:gd name="connsiteY329" fmla="*/ 426206 h 538647"/>
              <a:gd name="connsiteX330" fmla="*/ 0 w 545883"/>
              <a:gd name="connsiteY330" fmla="*/ 62001 h 538647"/>
              <a:gd name="connsiteX331" fmla="*/ 32811 w 545883"/>
              <a:gd name="connsiteY331" fmla="*/ 29153 h 538647"/>
              <a:gd name="connsiteX332" fmla="*/ 60291 w 545883"/>
              <a:gd name="connsiteY332" fmla="*/ 29153 h 538647"/>
              <a:gd name="connsiteX333" fmla="*/ 60291 w 545883"/>
              <a:gd name="connsiteY333" fmla="*/ 20941 h 538647"/>
              <a:gd name="connsiteX334" fmla="*/ 81208 w 545883"/>
              <a:gd name="connsiteY334" fmla="*/ 0 h 53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</a:cxnLst>
            <a:rect l="l" t="t" r="r" b="b"/>
            <a:pathLst>
              <a:path w="545883" h="538647">
                <a:moveTo>
                  <a:pt x="235485" y="393071"/>
                </a:moveTo>
                <a:lnTo>
                  <a:pt x="216729" y="412230"/>
                </a:lnTo>
                <a:lnTo>
                  <a:pt x="228146" y="412230"/>
                </a:lnTo>
                <a:cubicBezTo>
                  <a:pt x="232223" y="412230"/>
                  <a:pt x="235485" y="408969"/>
                  <a:pt x="235485" y="404893"/>
                </a:cubicBezTo>
                <a:close/>
                <a:moveTo>
                  <a:pt x="442901" y="392534"/>
                </a:moveTo>
                <a:cubicBezTo>
                  <a:pt x="446581" y="392534"/>
                  <a:pt x="449853" y="395776"/>
                  <a:pt x="449853" y="399828"/>
                </a:cubicBezTo>
                <a:lnTo>
                  <a:pt x="449853" y="428597"/>
                </a:lnTo>
                <a:lnTo>
                  <a:pt x="475619" y="428597"/>
                </a:lnTo>
                <a:cubicBezTo>
                  <a:pt x="479708" y="428597"/>
                  <a:pt x="482571" y="431839"/>
                  <a:pt x="482571" y="435485"/>
                </a:cubicBezTo>
                <a:cubicBezTo>
                  <a:pt x="482571" y="439537"/>
                  <a:pt x="479708" y="442779"/>
                  <a:pt x="475619" y="442779"/>
                </a:cubicBezTo>
                <a:lnTo>
                  <a:pt x="442901" y="442779"/>
                </a:lnTo>
                <a:cubicBezTo>
                  <a:pt x="438811" y="442779"/>
                  <a:pt x="435948" y="439537"/>
                  <a:pt x="435948" y="435485"/>
                </a:cubicBezTo>
                <a:lnTo>
                  <a:pt x="435948" y="399828"/>
                </a:lnTo>
                <a:cubicBezTo>
                  <a:pt x="435948" y="395776"/>
                  <a:pt x="438811" y="392534"/>
                  <a:pt x="442901" y="392534"/>
                </a:cubicBezTo>
                <a:close/>
                <a:moveTo>
                  <a:pt x="444089" y="385180"/>
                </a:moveTo>
                <a:cubicBezTo>
                  <a:pt x="415382" y="385180"/>
                  <a:pt x="392416" y="408146"/>
                  <a:pt x="392416" y="436443"/>
                </a:cubicBezTo>
                <a:cubicBezTo>
                  <a:pt x="392416" y="465149"/>
                  <a:pt x="415382" y="488115"/>
                  <a:pt x="444089" y="488115"/>
                </a:cubicBezTo>
                <a:cubicBezTo>
                  <a:pt x="472385" y="488115"/>
                  <a:pt x="495351" y="465149"/>
                  <a:pt x="495351" y="436443"/>
                </a:cubicBezTo>
                <a:cubicBezTo>
                  <a:pt x="495351" y="408146"/>
                  <a:pt x="472385" y="385180"/>
                  <a:pt x="444089" y="385180"/>
                </a:cubicBezTo>
                <a:close/>
                <a:moveTo>
                  <a:pt x="444089" y="370827"/>
                </a:moveTo>
                <a:cubicBezTo>
                  <a:pt x="480177" y="370827"/>
                  <a:pt x="509704" y="400764"/>
                  <a:pt x="509704" y="436443"/>
                </a:cubicBezTo>
                <a:cubicBezTo>
                  <a:pt x="509704" y="472941"/>
                  <a:pt x="480177" y="502468"/>
                  <a:pt x="444089" y="502468"/>
                </a:cubicBezTo>
                <a:cubicBezTo>
                  <a:pt x="407590" y="502468"/>
                  <a:pt x="378063" y="472941"/>
                  <a:pt x="378063" y="436443"/>
                </a:cubicBezTo>
                <a:cubicBezTo>
                  <a:pt x="378063" y="400764"/>
                  <a:pt x="407590" y="370827"/>
                  <a:pt x="444089" y="370827"/>
                </a:cubicBezTo>
                <a:close/>
                <a:moveTo>
                  <a:pt x="231000" y="359236"/>
                </a:moveTo>
                <a:cubicBezTo>
                  <a:pt x="230184" y="359644"/>
                  <a:pt x="229369" y="360459"/>
                  <a:pt x="228961" y="360459"/>
                </a:cubicBezTo>
                <a:lnTo>
                  <a:pt x="204904" y="384918"/>
                </a:lnTo>
                <a:cubicBezTo>
                  <a:pt x="202458" y="386956"/>
                  <a:pt x="199603" y="388179"/>
                  <a:pt x="196749" y="388179"/>
                </a:cubicBezTo>
                <a:cubicBezTo>
                  <a:pt x="193487" y="388179"/>
                  <a:pt x="190633" y="386956"/>
                  <a:pt x="188594" y="384918"/>
                </a:cubicBezTo>
                <a:lnTo>
                  <a:pt x="182886" y="379210"/>
                </a:lnTo>
                <a:cubicBezTo>
                  <a:pt x="182070" y="378803"/>
                  <a:pt x="181663" y="378395"/>
                  <a:pt x="180439" y="377988"/>
                </a:cubicBezTo>
                <a:cubicBezTo>
                  <a:pt x="180032" y="377580"/>
                  <a:pt x="179624" y="377580"/>
                  <a:pt x="179216" y="377580"/>
                </a:cubicBezTo>
                <a:cubicBezTo>
                  <a:pt x="178808" y="377580"/>
                  <a:pt x="178401" y="377580"/>
                  <a:pt x="177993" y="377580"/>
                </a:cubicBezTo>
                <a:cubicBezTo>
                  <a:pt x="177585" y="377580"/>
                  <a:pt x="176770" y="377580"/>
                  <a:pt x="175954" y="377580"/>
                </a:cubicBezTo>
                <a:lnTo>
                  <a:pt x="175546" y="377580"/>
                </a:lnTo>
                <a:cubicBezTo>
                  <a:pt x="175139" y="377988"/>
                  <a:pt x="174731" y="378395"/>
                  <a:pt x="173916" y="378803"/>
                </a:cubicBezTo>
                <a:cubicBezTo>
                  <a:pt x="173508" y="378803"/>
                  <a:pt x="173508" y="378803"/>
                  <a:pt x="173508" y="379210"/>
                </a:cubicBezTo>
                <a:lnTo>
                  <a:pt x="173100" y="379618"/>
                </a:lnTo>
                <a:cubicBezTo>
                  <a:pt x="170654" y="382064"/>
                  <a:pt x="170654" y="386140"/>
                  <a:pt x="173508" y="388994"/>
                </a:cubicBezTo>
                <a:lnTo>
                  <a:pt x="189002" y="404485"/>
                </a:lnTo>
                <a:cubicBezTo>
                  <a:pt x="192264" y="407746"/>
                  <a:pt x="197565" y="408561"/>
                  <a:pt x="201234" y="406523"/>
                </a:cubicBezTo>
                <a:cubicBezTo>
                  <a:pt x="202458" y="406115"/>
                  <a:pt x="203681" y="405300"/>
                  <a:pt x="204496" y="404485"/>
                </a:cubicBezTo>
                <a:lnTo>
                  <a:pt x="230592" y="377580"/>
                </a:lnTo>
                <a:lnTo>
                  <a:pt x="238339" y="370242"/>
                </a:lnTo>
                <a:cubicBezTo>
                  <a:pt x="239563" y="369019"/>
                  <a:pt x="240378" y="367389"/>
                  <a:pt x="240378" y="365351"/>
                </a:cubicBezTo>
                <a:cubicBezTo>
                  <a:pt x="240378" y="363720"/>
                  <a:pt x="239563" y="362089"/>
                  <a:pt x="238339" y="360459"/>
                </a:cubicBezTo>
                <a:cubicBezTo>
                  <a:pt x="237524" y="360459"/>
                  <a:pt x="237116" y="359644"/>
                  <a:pt x="236301" y="359236"/>
                </a:cubicBezTo>
                <a:cubicBezTo>
                  <a:pt x="235893" y="359236"/>
                  <a:pt x="235893" y="359236"/>
                  <a:pt x="235485" y="359236"/>
                </a:cubicBezTo>
                <a:cubicBezTo>
                  <a:pt x="235077" y="359236"/>
                  <a:pt x="234262" y="359236"/>
                  <a:pt x="233854" y="359236"/>
                </a:cubicBezTo>
                <a:lnTo>
                  <a:pt x="233446" y="359236"/>
                </a:lnTo>
                <a:cubicBezTo>
                  <a:pt x="232631" y="359236"/>
                  <a:pt x="231815" y="359236"/>
                  <a:pt x="231408" y="359236"/>
                </a:cubicBezTo>
                <a:cubicBezTo>
                  <a:pt x="231000" y="359236"/>
                  <a:pt x="231000" y="359236"/>
                  <a:pt x="231000" y="359236"/>
                </a:cubicBezTo>
                <a:close/>
                <a:moveTo>
                  <a:pt x="182886" y="354344"/>
                </a:moveTo>
                <a:cubicBezTo>
                  <a:pt x="179216" y="354344"/>
                  <a:pt x="175954" y="357605"/>
                  <a:pt x="175954" y="361274"/>
                </a:cubicBezTo>
                <a:lnTo>
                  <a:pt x="175954" y="363312"/>
                </a:lnTo>
                <a:cubicBezTo>
                  <a:pt x="176362" y="363312"/>
                  <a:pt x="176362" y="363312"/>
                  <a:pt x="176770" y="363312"/>
                </a:cubicBezTo>
                <a:cubicBezTo>
                  <a:pt x="177585" y="363312"/>
                  <a:pt x="178808" y="363312"/>
                  <a:pt x="180032" y="363312"/>
                </a:cubicBezTo>
                <a:cubicBezTo>
                  <a:pt x="180439" y="363312"/>
                  <a:pt x="180439" y="363312"/>
                  <a:pt x="180847" y="363312"/>
                </a:cubicBezTo>
                <a:cubicBezTo>
                  <a:pt x="182070" y="363720"/>
                  <a:pt x="182886" y="363720"/>
                  <a:pt x="184109" y="364128"/>
                </a:cubicBezTo>
                <a:cubicBezTo>
                  <a:pt x="184517" y="364535"/>
                  <a:pt x="184925" y="364535"/>
                  <a:pt x="184925" y="364535"/>
                </a:cubicBezTo>
                <a:cubicBezTo>
                  <a:pt x="186148" y="364943"/>
                  <a:pt x="187371" y="365351"/>
                  <a:pt x="188187" y="366166"/>
                </a:cubicBezTo>
                <a:cubicBezTo>
                  <a:pt x="188594" y="366166"/>
                  <a:pt x="188594" y="366166"/>
                  <a:pt x="189410" y="366166"/>
                </a:cubicBezTo>
                <a:cubicBezTo>
                  <a:pt x="190633" y="367389"/>
                  <a:pt x="191449" y="368204"/>
                  <a:pt x="192672" y="369427"/>
                </a:cubicBezTo>
                <a:lnTo>
                  <a:pt x="196749" y="373096"/>
                </a:lnTo>
                <a:lnTo>
                  <a:pt x="215098" y="354344"/>
                </a:lnTo>
                <a:close/>
                <a:moveTo>
                  <a:pt x="64752" y="354344"/>
                </a:moveTo>
                <a:cubicBezTo>
                  <a:pt x="60649" y="354344"/>
                  <a:pt x="57776" y="357605"/>
                  <a:pt x="57776" y="361274"/>
                </a:cubicBezTo>
                <a:lnTo>
                  <a:pt x="57776" y="404893"/>
                </a:lnTo>
                <a:cubicBezTo>
                  <a:pt x="57776" y="408969"/>
                  <a:pt x="60649" y="412230"/>
                  <a:pt x="64752" y="412230"/>
                </a:cubicBezTo>
                <a:lnTo>
                  <a:pt x="110301" y="412230"/>
                </a:lnTo>
                <a:cubicBezTo>
                  <a:pt x="113994" y="412230"/>
                  <a:pt x="117277" y="408969"/>
                  <a:pt x="117277" y="404893"/>
                </a:cubicBezTo>
                <a:lnTo>
                  <a:pt x="117277" y="361274"/>
                </a:lnTo>
                <a:cubicBezTo>
                  <a:pt x="117277" y="357605"/>
                  <a:pt x="113994" y="354344"/>
                  <a:pt x="110301" y="354344"/>
                </a:cubicBezTo>
                <a:close/>
                <a:moveTo>
                  <a:pt x="301779" y="340077"/>
                </a:moveTo>
                <a:lnTo>
                  <a:pt x="347457" y="340077"/>
                </a:lnTo>
                <a:cubicBezTo>
                  <a:pt x="354041" y="340077"/>
                  <a:pt x="360213" y="342930"/>
                  <a:pt x="364328" y="348637"/>
                </a:cubicBezTo>
                <a:cubicBezTo>
                  <a:pt x="366797" y="351491"/>
                  <a:pt x="365974" y="355567"/>
                  <a:pt x="362682" y="358013"/>
                </a:cubicBezTo>
                <a:cubicBezTo>
                  <a:pt x="359802" y="360459"/>
                  <a:pt x="355275" y="360459"/>
                  <a:pt x="352806" y="356790"/>
                </a:cubicBezTo>
                <a:cubicBezTo>
                  <a:pt x="351572" y="355160"/>
                  <a:pt x="349514" y="354344"/>
                  <a:pt x="347457" y="354344"/>
                </a:cubicBezTo>
                <a:lnTo>
                  <a:pt x="301779" y="354344"/>
                </a:lnTo>
                <a:cubicBezTo>
                  <a:pt x="297664" y="354344"/>
                  <a:pt x="294372" y="357605"/>
                  <a:pt x="294372" y="361274"/>
                </a:cubicBezTo>
                <a:lnTo>
                  <a:pt x="294372" y="404893"/>
                </a:lnTo>
                <a:cubicBezTo>
                  <a:pt x="294372" y="408969"/>
                  <a:pt x="297664" y="412230"/>
                  <a:pt x="301779" y="412230"/>
                </a:cubicBezTo>
                <a:lnTo>
                  <a:pt x="326058" y="412230"/>
                </a:lnTo>
                <a:cubicBezTo>
                  <a:pt x="329762" y="412230"/>
                  <a:pt x="333054" y="415084"/>
                  <a:pt x="333054" y="419160"/>
                </a:cubicBezTo>
                <a:cubicBezTo>
                  <a:pt x="333054" y="422829"/>
                  <a:pt x="329762" y="426498"/>
                  <a:pt x="326058" y="426498"/>
                </a:cubicBezTo>
                <a:lnTo>
                  <a:pt x="301779" y="426498"/>
                </a:lnTo>
                <a:cubicBezTo>
                  <a:pt x="289846" y="426498"/>
                  <a:pt x="280381" y="416714"/>
                  <a:pt x="280381" y="404893"/>
                </a:cubicBezTo>
                <a:lnTo>
                  <a:pt x="280381" y="361274"/>
                </a:lnTo>
                <a:cubicBezTo>
                  <a:pt x="280381" y="349860"/>
                  <a:pt x="289846" y="340077"/>
                  <a:pt x="301779" y="340077"/>
                </a:cubicBezTo>
                <a:close/>
                <a:moveTo>
                  <a:pt x="182886" y="340077"/>
                </a:moveTo>
                <a:lnTo>
                  <a:pt x="228146" y="340077"/>
                </a:lnTo>
                <a:cubicBezTo>
                  <a:pt x="234670" y="340077"/>
                  <a:pt x="240786" y="342930"/>
                  <a:pt x="244863" y="347822"/>
                </a:cubicBezTo>
                <a:cubicBezTo>
                  <a:pt x="246087" y="348637"/>
                  <a:pt x="247310" y="349453"/>
                  <a:pt x="248533" y="350675"/>
                </a:cubicBezTo>
                <a:cubicBezTo>
                  <a:pt x="252203" y="354344"/>
                  <a:pt x="254649" y="359644"/>
                  <a:pt x="254649" y="365351"/>
                </a:cubicBezTo>
                <a:cubicBezTo>
                  <a:pt x="254649" y="370242"/>
                  <a:pt x="252610" y="374726"/>
                  <a:pt x="249756" y="378803"/>
                </a:cubicBezTo>
                <a:lnTo>
                  <a:pt x="249756" y="404893"/>
                </a:lnTo>
                <a:cubicBezTo>
                  <a:pt x="249756" y="416714"/>
                  <a:pt x="239970" y="426498"/>
                  <a:pt x="228146" y="426498"/>
                </a:cubicBezTo>
                <a:lnTo>
                  <a:pt x="182886" y="426498"/>
                </a:lnTo>
                <a:cubicBezTo>
                  <a:pt x="171469" y="426498"/>
                  <a:pt x="161683" y="416714"/>
                  <a:pt x="161683" y="404893"/>
                </a:cubicBezTo>
                <a:lnTo>
                  <a:pt x="161683" y="397147"/>
                </a:lnTo>
                <a:cubicBezTo>
                  <a:pt x="155567" y="389402"/>
                  <a:pt x="155567" y="378803"/>
                  <a:pt x="161683" y="371058"/>
                </a:cubicBezTo>
                <a:lnTo>
                  <a:pt x="161683" y="361274"/>
                </a:lnTo>
                <a:cubicBezTo>
                  <a:pt x="161683" y="349860"/>
                  <a:pt x="171469" y="340077"/>
                  <a:pt x="182886" y="340077"/>
                </a:cubicBezTo>
                <a:close/>
                <a:moveTo>
                  <a:pt x="64752" y="340077"/>
                </a:moveTo>
                <a:lnTo>
                  <a:pt x="110301" y="340077"/>
                </a:lnTo>
                <a:cubicBezTo>
                  <a:pt x="122201" y="340077"/>
                  <a:pt x="131640" y="349860"/>
                  <a:pt x="131640" y="361274"/>
                </a:cubicBezTo>
                <a:lnTo>
                  <a:pt x="131640" y="404893"/>
                </a:lnTo>
                <a:cubicBezTo>
                  <a:pt x="131640" y="416714"/>
                  <a:pt x="122201" y="426498"/>
                  <a:pt x="110301" y="426498"/>
                </a:cubicBezTo>
                <a:lnTo>
                  <a:pt x="64752" y="426498"/>
                </a:lnTo>
                <a:cubicBezTo>
                  <a:pt x="52852" y="426498"/>
                  <a:pt x="43414" y="416714"/>
                  <a:pt x="43414" y="404893"/>
                </a:cubicBezTo>
                <a:lnTo>
                  <a:pt x="43414" y="361274"/>
                </a:lnTo>
                <a:cubicBezTo>
                  <a:pt x="43414" y="349860"/>
                  <a:pt x="52852" y="340077"/>
                  <a:pt x="64752" y="340077"/>
                </a:cubicBezTo>
                <a:close/>
                <a:moveTo>
                  <a:pt x="443540" y="332841"/>
                </a:moveTo>
                <a:cubicBezTo>
                  <a:pt x="500033" y="332841"/>
                  <a:pt x="545883" y="378849"/>
                  <a:pt x="545883" y="435539"/>
                </a:cubicBezTo>
                <a:cubicBezTo>
                  <a:pt x="545883" y="492228"/>
                  <a:pt x="500033" y="538647"/>
                  <a:pt x="443540" y="538647"/>
                </a:cubicBezTo>
                <a:cubicBezTo>
                  <a:pt x="389503" y="538647"/>
                  <a:pt x="344882" y="496747"/>
                  <a:pt x="341198" y="442933"/>
                </a:cubicBezTo>
                <a:cubicBezTo>
                  <a:pt x="340788" y="438825"/>
                  <a:pt x="343654" y="435539"/>
                  <a:pt x="347748" y="435128"/>
                </a:cubicBezTo>
                <a:cubicBezTo>
                  <a:pt x="351841" y="435128"/>
                  <a:pt x="355116" y="438004"/>
                  <a:pt x="355526" y="442112"/>
                </a:cubicBezTo>
                <a:cubicBezTo>
                  <a:pt x="358391" y="488120"/>
                  <a:pt x="397281" y="524270"/>
                  <a:pt x="443540" y="524270"/>
                </a:cubicBezTo>
                <a:cubicBezTo>
                  <a:pt x="491846" y="524270"/>
                  <a:pt x="531145" y="484834"/>
                  <a:pt x="531145" y="435539"/>
                </a:cubicBezTo>
                <a:cubicBezTo>
                  <a:pt x="531145" y="387065"/>
                  <a:pt x="491846" y="347218"/>
                  <a:pt x="443540" y="347218"/>
                </a:cubicBezTo>
                <a:cubicBezTo>
                  <a:pt x="411200" y="347218"/>
                  <a:pt x="382954" y="364061"/>
                  <a:pt x="366988" y="390762"/>
                </a:cubicBezTo>
                <a:lnTo>
                  <a:pt x="373947" y="386654"/>
                </a:lnTo>
                <a:cubicBezTo>
                  <a:pt x="377222" y="384600"/>
                  <a:pt x="381316" y="385422"/>
                  <a:pt x="383363" y="388708"/>
                </a:cubicBezTo>
                <a:cubicBezTo>
                  <a:pt x="385819" y="391995"/>
                  <a:pt x="384591" y="396514"/>
                  <a:pt x="381316" y="398568"/>
                </a:cubicBezTo>
                <a:lnTo>
                  <a:pt x="355116" y="414999"/>
                </a:lnTo>
                <a:cubicBezTo>
                  <a:pt x="354298" y="415821"/>
                  <a:pt x="352660" y="416232"/>
                  <a:pt x="351432" y="416232"/>
                </a:cubicBezTo>
                <a:cubicBezTo>
                  <a:pt x="350613" y="416232"/>
                  <a:pt x="349795" y="416232"/>
                  <a:pt x="348976" y="415821"/>
                </a:cubicBezTo>
                <a:cubicBezTo>
                  <a:pt x="346929" y="414999"/>
                  <a:pt x="345292" y="413356"/>
                  <a:pt x="344882" y="411302"/>
                </a:cubicBezTo>
                <a:lnTo>
                  <a:pt x="335467" y="382546"/>
                </a:lnTo>
                <a:cubicBezTo>
                  <a:pt x="334648" y="378849"/>
                  <a:pt x="336695" y="374741"/>
                  <a:pt x="340379" y="373509"/>
                </a:cubicBezTo>
                <a:cubicBezTo>
                  <a:pt x="344063" y="372277"/>
                  <a:pt x="348157" y="374331"/>
                  <a:pt x="349385" y="378028"/>
                </a:cubicBezTo>
                <a:lnTo>
                  <a:pt x="352251" y="388298"/>
                </a:lnTo>
                <a:cubicBezTo>
                  <a:pt x="369444" y="354202"/>
                  <a:pt x="404241" y="332841"/>
                  <a:pt x="443540" y="332841"/>
                </a:cubicBezTo>
                <a:close/>
                <a:moveTo>
                  <a:pt x="117905" y="289960"/>
                </a:moveTo>
                <a:lnTo>
                  <a:pt x="99148" y="309120"/>
                </a:lnTo>
                <a:lnTo>
                  <a:pt x="110973" y="309120"/>
                </a:lnTo>
                <a:cubicBezTo>
                  <a:pt x="114643" y="309120"/>
                  <a:pt x="117905" y="305858"/>
                  <a:pt x="117905" y="302190"/>
                </a:cubicBezTo>
                <a:close/>
                <a:moveTo>
                  <a:pt x="115458" y="255718"/>
                </a:moveTo>
                <a:cubicBezTo>
                  <a:pt x="115051" y="256126"/>
                  <a:pt x="114643" y="256126"/>
                  <a:pt x="114235" y="256126"/>
                </a:cubicBezTo>
                <a:cubicBezTo>
                  <a:pt x="113827" y="256126"/>
                  <a:pt x="113420" y="256126"/>
                  <a:pt x="113420" y="256126"/>
                </a:cubicBezTo>
                <a:cubicBezTo>
                  <a:pt x="112604" y="256534"/>
                  <a:pt x="112196" y="257349"/>
                  <a:pt x="111381" y="257349"/>
                </a:cubicBezTo>
                <a:cubicBezTo>
                  <a:pt x="111381" y="257349"/>
                  <a:pt x="110973" y="257349"/>
                  <a:pt x="110973" y="257757"/>
                </a:cubicBezTo>
                <a:lnTo>
                  <a:pt x="87324" y="281808"/>
                </a:lnTo>
                <a:cubicBezTo>
                  <a:pt x="82838" y="286292"/>
                  <a:pt x="75499" y="286292"/>
                  <a:pt x="71014" y="281808"/>
                </a:cubicBezTo>
                <a:lnTo>
                  <a:pt x="65305" y="276508"/>
                </a:lnTo>
                <a:cubicBezTo>
                  <a:pt x="64490" y="275693"/>
                  <a:pt x="63674" y="275285"/>
                  <a:pt x="63266" y="274878"/>
                </a:cubicBezTo>
                <a:cubicBezTo>
                  <a:pt x="62451" y="274878"/>
                  <a:pt x="62043" y="274878"/>
                  <a:pt x="61228" y="274470"/>
                </a:cubicBezTo>
                <a:cubicBezTo>
                  <a:pt x="61228" y="274470"/>
                  <a:pt x="61228" y="274470"/>
                  <a:pt x="60820" y="274470"/>
                </a:cubicBezTo>
                <a:cubicBezTo>
                  <a:pt x="60004" y="274470"/>
                  <a:pt x="59189" y="274470"/>
                  <a:pt x="58373" y="274878"/>
                </a:cubicBezTo>
                <a:cubicBezTo>
                  <a:pt x="57558" y="274878"/>
                  <a:pt x="56742" y="275285"/>
                  <a:pt x="56335" y="276100"/>
                </a:cubicBezTo>
                <a:cubicBezTo>
                  <a:pt x="56335" y="276100"/>
                  <a:pt x="56335" y="276100"/>
                  <a:pt x="55927" y="276100"/>
                </a:cubicBezTo>
                <a:lnTo>
                  <a:pt x="55519" y="276508"/>
                </a:lnTo>
                <a:cubicBezTo>
                  <a:pt x="53073" y="279362"/>
                  <a:pt x="53073" y="283438"/>
                  <a:pt x="55519" y="285884"/>
                </a:cubicBezTo>
                <a:lnTo>
                  <a:pt x="58373" y="288737"/>
                </a:lnTo>
                <a:lnTo>
                  <a:pt x="71421" y="301374"/>
                </a:lnTo>
                <a:cubicBezTo>
                  <a:pt x="72645" y="302597"/>
                  <a:pt x="73868" y="303413"/>
                  <a:pt x="75499" y="303820"/>
                </a:cubicBezTo>
                <a:cubicBezTo>
                  <a:pt x="79169" y="305043"/>
                  <a:pt x="84062" y="304636"/>
                  <a:pt x="86508" y="301374"/>
                </a:cubicBezTo>
                <a:lnTo>
                  <a:pt x="104449" y="283438"/>
                </a:lnTo>
                <a:lnTo>
                  <a:pt x="120759" y="267132"/>
                </a:lnTo>
                <a:cubicBezTo>
                  <a:pt x="121982" y="265909"/>
                  <a:pt x="122798" y="264279"/>
                  <a:pt x="122798" y="262241"/>
                </a:cubicBezTo>
                <a:cubicBezTo>
                  <a:pt x="122798" y="260610"/>
                  <a:pt x="121982" y="258979"/>
                  <a:pt x="120759" y="257757"/>
                </a:cubicBezTo>
                <a:cubicBezTo>
                  <a:pt x="120351" y="257349"/>
                  <a:pt x="119536" y="256941"/>
                  <a:pt x="119128" y="256534"/>
                </a:cubicBezTo>
                <a:cubicBezTo>
                  <a:pt x="118313" y="256126"/>
                  <a:pt x="117905" y="256126"/>
                  <a:pt x="117905" y="256126"/>
                </a:cubicBezTo>
                <a:cubicBezTo>
                  <a:pt x="117089" y="256126"/>
                  <a:pt x="116682" y="256126"/>
                  <a:pt x="116682" y="256126"/>
                </a:cubicBezTo>
                <a:cubicBezTo>
                  <a:pt x="116274" y="255718"/>
                  <a:pt x="115866" y="255718"/>
                  <a:pt x="115458" y="255718"/>
                </a:cubicBezTo>
                <a:close/>
                <a:moveTo>
                  <a:pt x="301819" y="251642"/>
                </a:moveTo>
                <a:cubicBezTo>
                  <a:pt x="297696" y="251642"/>
                  <a:pt x="294398" y="254495"/>
                  <a:pt x="294398" y="258572"/>
                </a:cubicBezTo>
                <a:lnTo>
                  <a:pt x="294398" y="302190"/>
                </a:lnTo>
                <a:cubicBezTo>
                  <a:pt x="294398" y="305858"/>
                  <a:pt x="297696" y="309120"/>
                  <a:pt x="301819" y="309120"/>
                </a:cubicBezTo>
                <a:lnTo>
                  <a:pt x="347581" y="309120"/>
                </a:lnTo>
                <a:cubicBezTo>
                  <a:pt x="351291" y="309120"/>
                  <a:pt x="354589" y="305858"/>
                  <a:pt x="354589" y="302190"/>
                </a:cubicBezTo>
                <a:lnTo>
                  <a:pt x="354589" y="258572"/>
                </a:lnTo>
                <a:cubicBezTo>
                  <a:pt x="354589" y="254495"/>
                  <a:pt x="351291" y="251642"/>
                  <a:pt x="347581" y="251642"/>
                </a:cubicBezTo>
                <a:close/>
                <a:moveTo>
                  <a:pt x="184043" y="251642"/>
                </a:moveTo>
                <a:cubicBezTo>
                  <a:pt x="180367" y="251642"/>
                  <a:pt x="177099" y="254495"/>
                  <a:pt x="177099" y="258572"/>
                </a:cubicBezTo>
                <a:lnTo>
                  <a:pt x="177099" y="302190"/>
                </a:lnTo>
                <a:cubicBezTo>
                  <a:pt x="177099" y="305858"/>
                  <a:pt x="180367" y="309120"/>
                  <a:pt x="184043" y="309120"/>
                </a:cubicBezTo>
                <a:lnTo>
                  <a:pt x="229382" y="309120"/>
                </a:lnTo>
                <a:cubicBezTo>
                  <a:pt x="233467" y="309120"/>
                  <a:pt x="236734" y="305858"/>
                  <a:pt x="236734" y="302190"/>
                </a:cubicBezTo>
                <a:lnTo>
                  <a:pt x="236734" y="258572"/>
                </a:lnTo>
                <a:cubicBezTo>
                  <a:pt x="236734" y="254495"/>
                  <a:pt x="233467" y="251642"/>
                  <a:pt x="229382" y="251642"/>
                </a:cubicBezTo>
                <a:close/>
                <a:moveTo>
                  <a:pt x="65713" y="251642"/>
                </a:moveTo>
                <a:cubicBezTo>
                  <a:pt x="61635" y="251642"/>
                  <a:pt x="58781" y="254495"/>
                  <a:pt x="58781" y="258572"/>
                </a:cubicBezTo>
                <a:lnTo>
                  <a:pt x="58781" y="260202"/>
                </a:lnTo>
                <a:cubicBezTo>
                  <a:pt x="60004" y="260202"/>
                  <a:pt x="61228" y="260202"/>
                  <a:pt x="62451" y="260202"/>
                </a:cubicBezTo>
                <a:cubicBezTo>
                  <a:pt x="62451" y="260610"/>
                  <a:pt x="63266" y="260610"/>
                  <a:pt x="63266" y="260610"/>
                </a:cubicBezTo>
                <a:cubicBezTo>
                  <a:pt x="64490" y="260610"/>
                  <a:pt x="65713" y="261018"/>
                  <a:pt x="66528" y="261018"/>
                </a:cubicBezTo>
                <a:cubicBezTo>
                  <a:pt x="66936" y="261425"/>
                  <a:pt x="67344" y="261425"/>
                  <a:pt x="67752" y="261425"/>
                </a:cubicBezTo>
                <a:cubicBezTo>
                  <a:pt x="68567" y="262241"/>
                  <a:pt x="69790" y="262241"/>
                  <a:pt x="70606" y="263056"/>
                </a:cubicBezTo>
                <a:cubicBezTo>
                  <a:pt x="71014" y="263056"/>
                  <a:pt x="71421" y="263056"/>
                  <a:pt x="71421" y="263464"/>
                </a:cubicBezTo>
                <a:cubicBezTo>
                  <a:pt x="72645" y="264279"/>
                  <a:pt x="73868" y="265094"/>
                  <a:pt x="75091" y="266317"/>
                </a:cubicBezTo>
                <a:lnTo>
                  <a:pt x="79169" y="270393"/>
                </a:lnTo>
                <a:lnTo>
                  <a:pt x="97517" y="251642"/>
                </a:lnTo>
                <a:close/>
                <a:moveTo>
                  <a:pt x="301819" y="236967"/>
                </a:moveTo>
                <a:lnTo>
                  <a:pt x="347581" y="236967"/>
                </a:lnTo>
                <a:cubicBezTo>
                  <a:pt x="359124" y="236967"/>
                  <a:pt x="368607" y="246750"/>
                  <a:pt x="368607" y="258572"/>
                </a:cubicBezTo>
                <a:lnTo>
                  <a:pt x="368607" y="302190"/>
                </a:lnTo>
                <a:cubicBezTo>
                  <a:pt x="368607" y="313604"/>
                  <a:pt x="359124" y="323387"/>
                  <a:pt x="347581" y="323387"/>
                </a:cubicBezTo>
                <a:lnTo>
                  <a:pt x="301819" y="323387"/>
                </a:lnTo>
                <a:cubicBezTo>
                  <a:pt x="289863" y="323387"/>
                  <a:pt x="280381" y="313604"/>
                  <a:pt x="280381" y="302190"/>
                </a:cubicBezTo>
                <a:lnTo>
                  <a:pt x="280381" y="258572"/>
                </a:lnTo>
                <a:cubicBezTo>
                  <a:pt x="280381" y="246750"/>
                  <a:pt x="289863" y="236967"/>
                  <a:pt x="301819" y="236967"/>
                </a:cubicBezTo>
                <a:close/>
                <a:moveTo>
                  <a:pt x="184043" y="236967"/>
                </a:moveTo>
                <a:lnTo>
                  <a:pt x="229382" y="236967"/>
                </a:lnTo>
                <a:cubicBezTo>
                  <a:pt x="241227" y="236967"/>
                  <a:pt x="251030" y="246750"/>
                  <a:pt x="251030" y="258572"/>
                </a:cubicBezTo>
                <a:lnTo>
                  <a:pt x="251030" y="302190"/>
                </a:lnTo>
                <a:cubicBezTo>
                  <a:pt x="251030" y="313604"/>
                  <a:pt x="241227" y="323387"/>
                  <a:pt x="229382" y="323387"/>
                </a:cubicBezTo>
                <a:lnTo>
                  <a:pt x="184043" y="323387"/>
                </a:lnTo>
                <a:cubicBezTo>
                  <a:pt x="172606" y="323387"/>
                  <a:pt x="162803" y="313604"/>
                  <a:pt x="162803" y="302190"/>
                </a:cubicBezTo>
                <a:lnTo>
                  <a:pt x="162803" y="258572"/>
                </a:lnTo>
                <a:cubicBezTo>
                  <a:pt x="162803" y="246750"/>
                  <a:pt x="172606" y="236967"/>
                  <a:pt x="184043" y="236967"/>
                </a:cubicBezTo>
                <a:close/>
                <a:moveTo>
                  <a:pt x="65713" y="236967"/>
                </a:moveTo>
                <a:lnTo>
                  <a:pt x="110973" y="236967"/>
                </a:lnTo>
                <a:cubicBezTo>
                  <a:pt x="117089" y="236967"/>
                  <a:pt x="123206" y="240228"/>
                  <a:pt x="127283" y="244712"/>
                </a:cubicBezTo>
                <a:cubicBezTo>
                  <a:pt x="128506" y="245935"/>
                  <a:pt x="129730" y="246750"/>
                  <a:pt x="130953" y="247565"/>
                </a:cubicBezTo>
                <a:cubicBezTo>
                  <a:pt x="134623" y="251642"/>
                  <a:pt x="137069" y="256941"/>
                  <a:pt x="137069" y="262241"/>
                </a:cubicBezTo>
                <a:cubicBezTo>
                  <a:pt x="137069" y="267132"/>
                  <a:pt x="135438" y="271616"/>
                  <a:pt x="132176" y="275693"/>
                </a:cubicBezTo>
                <a:lnTo>
                  <a:pt x="132176" y="302190"/>
                </a:lnTo>
                <a:cubicBezTo>
                  <a:pt x="132176" y="313604"/>
                  <a:pt x="122798" y="323387"/>
                  <a:pt x="110973" y="323387"/>
                </a:cubicBezTo>
                <a:lnTo>
                  <a:pt x="65713" y="323387"/>
                </a:lnTo>
                <a:cubicBezTo>
                  <a:pt x="53888" y="323387"/>
                  <a:pt x="44510" y="313604"/>
                  <a:pt x="44510" y="302190"/>
                </a:cubicBezTo>
                <a:lnTo>
                  <a:pt x="44510" y="294444"/>
                </a:lnTo>
                <a:cubicBezTo>
                  <a:pt x="37986" y="286292"/>
                  <a:pt x="37986" y="275693"/>
                  <a:pt x="44510" y="267948"/>
                </a:cubicBezTo>
                <a:lnTo>
                  <a:pt x="44510" y="258572"/>
                </a:lnTo>
                <a:cubicBezTo>
                  <a:pt x="44510" y="246750"/>
                  <a:pt x="53888" y="236967"/>
                  <a:pt x="65713" y="236967"/>
                </a:cubicBezTo>
                <a:close/>
                <a:moveTo>
                  <a:pt x="301819" y="147785"/>
                </a:moveTo>
                <a:cubicBezTo>
                  <a:pt x="297696" y="147785"/>
                  <a:pt x="294398" y="151062"/>
                  <a:pt x="294398" y="155157"/>
                </a:cubicBezTo>
                <a:lnTo>
                  <a:pt x="294398" y="198981"/>
                </a:lnTo>
                <a:cubicBezTo>
                  <a:pt x="294398" y="203076"/>
                  <a:pt x="297696" y="205943"/>
                  <a:pt x="301819" y="205943"/>
                </a:cubicBezTo>
                <a:lnTo>
                  <a:pt x="347581" y="205943"/>
                </a:lnTo>
                <a:cubicBezTo>
                  <a:pt x="351291" y="205943"/>
                  <a:pt x="354589" y="203076"/>
                  <a:pt x="354589" y="198981"/>
                </a:cubicBezTo>
                <a:lnTo>
                  <a:pt x="354589" y="155157"/>
                </a:lnTo>
                <a:cubicBezTo>
                  <a:pt x="354589" y="151062"/>
                  <a:pt x="351291" y="147785"/>
                  <a:pt x="347581" y="147785"/>
                </a:cubicBezTo>
                <a:close/>
                <a:moveTo>
                  <a:pt x="184043" y="147785"/>
                </a:moveTo>
                <a:cubicBezTo>
                  <a:pt x="180367" y="147785"/>
                  <a:pt x="177099" y="151062"/>
                  <a:pt x="177099" y="155157"/>
                </a:cubicBezTo>
                <a:lnTo>
                  <a:pt x="177099" y="198981"/>
                </a:lnTo>
                <a:cubicBezTo>
                  <a:pt x="177099" y="203076"/>
                  <a:pt x="180367" y="205943"/>
                  <a:pt x="184043" y="205943"/>
                </a:cubicBezTo>
                <a:lnTo>
                  <a:pt x="229382" y="205943"/>
                </a:lnTo>
                <a:cubicBezTo>
                  <a:pt x="233467" y="205943"/>
                  <a:pt x="236734" y="203076"/>
                  <a:pt x="236734" y="198981"/>
                </a:cubicBezTo>
                <a:lnTo>
                  <a:pt x="236734" y="155157"/>
                </a:lnTo>
                <a:cubicBezTo>
                  <a:pt x="236734" y="151062"/>
                  <a:pt x="233467" y="147785"/>
                  <a:pt x="229382" y="147785"/>
                </a:cubicBezTo>
                <a:close/>
                <a:moveTo>
                  <a:pt x="64752" y="147785"/>
                </a:moveTo>
                <a:cubicBezTo>
                  <a:pt x="60649" y="147785"/>
                  <a:pt x="57776" y="151062"/>
                  <a:pt x="57776" y="155157"/>
                </a:cubicBezTo>
                <a:lnTo>
                  <a:pt x="57776" y="198981"/>
                </a:lnTo>
                <a:cubicBezTo>
                  <a:pt x="57776" y="203076"/>
                  <a:pt x="60649" y="205943"/>
                  <a:pt x="64752" y="205943"/>
                </a:cubicBezTo>
                <a:lnTo>
                  <a:pt x="110301" y="205943"/>
                </a:lnTo>
                <a:cubicBezTo>
                  <a:pt x="113994" y="205943"/>
                  <a:pt x="117277" y="203076"/>
                  <a:pt x="117277" y="198981"/>
                </a:cubicBezTo>
                <a:lnTo>
                  <a:pt x="117277" y="155157"/>
                </a:lnTo>
                <a:cubicBezTo>
                  <a:pt x="117277" y="151062"/>
                  <a:pt x="113994" y="147785"/>
                  <a:pt x="110301" y="147785"/>
                </a:cubicBezTo>
                <a:close/>
                <a:moveTo>
                  <a:pt x="301819" y="133860"/>
                </a:moveTo>
                <a:lnTo>
                  <a:pt x="347581" y="133860"/>
                </a:lnTo>
                <a:cubicBezTo>
                  <a:pt x="359124" y="133860"/>
                  <a:pt x="368607" y="143280"/>
                  <a:pt x="368607" y="155157"/>
                </a:cubicBezTo>
                <a:lnTo>
                  <a:pt x="368607" y="198981"/>
                </a:lnTo>
                <a:cubicBezTo>
                  <a:pt x="368607" y="210858"/>
                  <a:pt x="359124" y="220278"/>
                  <a:pt x="347581" y="220278"/>
                </a:cubicBezTo>
                <a:lnTo>
                  <a:pt x="301819" y="220278"/>
                </a:lnTo>
                <a:cubicBezTo>
                  <a:pt x="289863" y="220278"/>
                  <a:pt x="280381" y="210858"/>
                  <a:pt x="280381" y="198981"/>
                </a:cubicBezTo>
                <a:lnTo>
                  <a:pt x="280381" y="155157"/>
                </a:lnTo>
                <a:cubicBezTo>
                  <a:pt x="280381" y="143280"/>
                  <a:pt x="289863" y="133860"/>
                  <a:pt x="301819" y="133860"/>
                </a:cubicBezTo>
                <a:close/>
                <a:moveTo>
                  <a:pt x="184043" y="133860"/>
                </a:moveTo>
                <a:lnTo>
                  <a:pt x="229382" y="133860"/>
                </a:lnTo>
                <a:cubicBezTo>
                  <a:pt x="241227" y="133860"/>
                  <a:pt x="251030" y="143280"/>
                  <a:pt x="251030" y="155157"/>
                </a:cubicBezTo>
                <a:lnTo>
                  <a:pt x="251030" y="198981"/>
                </a:lnTo>
                <a:cubicBezTo>
                  <a:pt x="251030" y="210858"/>
                  <a:pt x="241227" y="220278"/>
                  <a:pt x="229382" y="220278"/>
                </a:cubicBezTo>
                <a:lnTo>
                  <a:pt x="184043" y="220278"/>
                </a:lnTo>
                <a:cubicBezTo>
                  <a:pt x="172606" y="220278"/>
                  <a:pt x="162803" y="210858"/>
                  <a:pt x="162803" y="198981"/>
                </a:cubicBezTo>
                <a:lnTo>
                  <a:pt x="162803" y="155157"/>
                </a:lnTo>
                <a:cubicBezTo>
                  <a:pt x="162803" y="143280"/>
                  <a:pt x="172606" y="133860"/>
                  <a:pt x="184043" y="133860"/>
                </a:cubicBezTo>
                <a:close/>
                <a:moveTo>
                  <a:pt x="64752" y="133860"/>
                </a:moveTo>
                <a:lnTo>
                  <a:pt x="110301" y="133860"/>
                </a:lnTo>
                <a:cubicBezTo>
                  <a:pt x="122201" y="133860"/>
                  <a:pt x="131640" y="143280"/>
                  <a:pt x="131640" y="155157"/>
                </a:cubicBezTo>
                <a:lnTo>
                  <a:pt x="131640" y="198981"/>
                </a:lnTo>
                <a:cubicBezTo>
                  <a:pt x="131640" y="210858"/>
                  <a:pt x="122201" y="220278"/>
                  <a:pt x="110301" y="220278"/>
                </a:cubicBezTo>
                <a:lnTo>
                  <a:pt x="64752" y="220278"/>
                </a:lnTo>
                <a:cubicBezTo>
                  <a:pt x="52852" y="220278"/>
                  <a:pt x="43414" y="210858"/>
                  <a:pt x="43414" y="198981"/>
                </a:cubicBezTo>
                <a:lnTo>
                  <a:pt x="43414" y="155157"/>
                </a:lnTo>
                <a:cubicBezTo>
                  <a:pt x="43414" y="143280"/>
                  <a:pt x="52852" y="133860"/>
                  <a:pt x="64752" y="133860"/>
                </a:cubicBezTo>
                <a:close/>
                <a:moveTo>
                  <a:pt x="32811" y="43934"/>
                </a:moveTo>
                <a:cubicBezTo>
                  <a:pt x="22558" y="43934"/>
                  <a:pt x="14355" y="52146"/>
                  <a:pt x="14355" y="62001"/>
                </a:cubicBezTo>
                <a:lnTo>
                  <a:pt x="14355" y="103472"/>
                </a:lnTo>
                <a:lnTo>
                  <a:pt x="399887" y="103472"/>
                </a:lnTo>
                <a:lnTo>
                  <a:pt x="399887" y="62001"/>
                </a:lnTo>
                <a:cubicBezTo>
                  <a:pt x="399887" y="52146"/>
                  <a:pt x="391684" y="43934"/>
                  <a:pt x="381431" y="43934"/>
                </a:cubicBezTo>
                <a:lnTo>
                  <a:pt x="353951" y="43934"/>
                </a:lnTo>
                <a:lnTo>
                  <a:pt x="353951" y="52557"/>
                </a:lnTo>
                <a:cubicBezTo>
                  <a:pt x="353951" y="64054"/>
                  <a:pt x="344518" y="73498"/>
                  <a:pt x="333034" y="73498"/>
                </a:cubicBezTo>
                <a:cubicBezTo>
                  <a:pt x="321550" y="73498"/>
                  <a:pt x="312117" y="64054"/>
                  <a:pt x="312117" y="52557"/>
                </a:cubicBezTo>
                <a:lnTo>
                  <a:pt x="312117" y="43934"/>
                </a:lnTo>
                <a:lnTo>
                  <a:pt x="102125" y="43934"/>
                </a:lnTo>
                <a:lnTo>
                  <a:pt x="102125" y="52557"/>
                </a:lnTo>
                <a:cubicBezTo>
                  <a:pt x="102125" y="64054"/>
                  <a:pt x="93102" y="73498"/>
                  <a:pt x="81208" y="73498"/>
                </a:cubicBezTo>
                <a:cubicBezTo>
                  <a:pt x="69724" y="73498"/>
                  <a:pt x="60291" y="64054"/>
                  <a:pt x="60291" y="52557"/>
                </a:cubicBezTo>
                <a:lnTo>
                  <a:pt x="60291" y="43934"/>
                </a:lnTo>
                <a:close/>
                <a:moveTo>
                  <a:pt x="333034" y="13960"/>
                </a:moveTo>
                <a:cubicBezTo>
                  <a:pt x="329343" y="13960"/>
                  <a:pt x="326472" y="17245"/>
                  <a:pt x="326472" y="20941"/>
                </a:cubicBezTo>
                <a:lnTo>
                  <a:pt x="326472" y="52557"/>
                </a:lnTo>
                <a:cubicBezTo>
                  <a:pt x="326472" y="56252"/>
                  <a:pt x="329343" y="59127"/>
                  <a:pt x="333034" y="59127"/>
                </a:cubicBezTo>
                <a:cubicBezTo>
                  <a:pt x="336725" y="59127"/>
                  <a:pt x="339596" y="56252"/>
                  <a:pt x="339596" y="52557"/>
                </a:cubicBezTo>
                <a:lnTo>
                  <a:pt x="339596" y="20941"/>
                </a:lnTo>
                <a:cubicBezTo>
                  <a:pt x="339596" y="17245"/>
                  <a:pt x="336725" y="13960"/>
                  <a:pt x="333034" y="13960"/>
                </a:cubicBezTo>
                <a:close/>
                <a:moveTo>
                  <a:pt x="81208" y="13960"/>
                </a:moveTo>
                <a:cubicBezTo>
                  <a:pt x="77927" y="13960"/>
                  <a:pt x="74646" y="17245"/>
                  <a:pt x="74646" y="20941"/>
                </a:cubicBezTo>
                <a:lnTo>
                  <a:pt x="74646" y="52557"/>
                </a:lnTo>
                <a:cubicBezTo>
                  <a:pt x="74646" y="56252"/>
                  <a:pt x="77927" y="59127"/>
                  <a:pt x="81208" y="59127"/>
                </a:cubicBezTo>
                <a:cubicBezTo>
                  <a:pt x="84899" y="59127"/>
                  <a:pt x="88180" y="56252"/>
                  <a:pt x="88180" y="52557"/>
                </a:cubicBezTo>
                <a:lnTo>
                  <a:pt x="88180" y="20941"/>
                </a:lnTo>
                <a:cubicBezTo>
                  <a:pt x="88180" y="17245"/>
                  <a:pt x="84899" y="13960"/>
                  <a:pt x="81208" y="13960"/>
                </a:cubicBezTo>
                <a:close/>
                <a:moveTo>
                  <a:pt x="81208" y="0"/>
                </a:moveTo>
                <a:cubicBezTo>
                  <a:pt x="93102" y="0"/>
                  <a:pt x="102125" y="9444"/>
                  <a:pt x="102125" y="20941"/>
                </a:cubicBezTo>
                <a:lnTo>
                  <a:pt x="102125" y="29153"/>
                </a:lnTo>
                <a:lnTo>
                  <a:pt x="312117" y="29153"/>
                </a:lnTo>
                <a:lnTo>
                  <a:pt x="312117" y="20941"/>
                </a:lnTo>
                <a:cubicBezTo>
                  <a:pt x="312117" y="9444"/>
                  <a:pt x="321550" y="0"/>
                  <a:pt x="333034" y="0"/>
                </a:cubicBezTo>
                <a:cubicBezTo>
                  <a:pt x="344518" y="0"/>
                  <a:pt x="353951" y="9444"/>
                  <a:pt x="353951" y="20941"/>
                </a:cubicBezTo>
                <a:lnTo>
                  <a:pt x="353951" y="29153"/>
                </a:lnTo>
                <a:lnTo>
                  <a:pt x="381431" y="29153"/>
                </a:lnTo>
                <a:cubicBezTo>
                  <a:pt x="399477" y="29153"/>
                  <a:pt x="413832" y="44345"/>
                  <a:pt x="413832" y="62001"/>
                </a:cubicBezTo>
                <a:lnTo>
                  <a:pt x="413832" y="322734"/>
                </a:lnTo>
                <a:cubicBezTo>
                  <a:pt x="413832" y="327251"/>
                  <a:pt x="410961" y="330125"/>
                  <a:pt x="406859" y="330125"/>
                </a:cubicBezTo>
                <a:cubicBezTo>
                  <a:pt x="403168" y="330125"/>
                  <a:pt x="399887" y="327251"/>
                  <a:pt x="399887" y="322734"/>
                </a:cubicBezTo>
                <a:lnTo>
                  <a:pt x="399887" y="118253"/>
                </a:lnTo>
                <a:lnTo>
                  <a:pt x="14355" y="118253"/>
                </a:lnTo>
                <a:lnTo>
                  <a:pt x="14355" y="426206"/>
                </a:lnTo>
                <a:cubicBezTo>
                  <a:pt x="14355" y="436061"/>
                  <a:pt x="22558" y="444684"/>
                  <a:pt x="32811" y="444684"/>
                </a:cubicBezTo>
                <a:lnTo>
                  <a:pt x="319499" y="444684"/>
                </a:lnTo>
                <a:cubicBezTo>
                  <a:pt x="323601" y="444684"/>
                  <a:pt x="326472" y="447968"/>
                  <a:pt x="326472" y="451664"/>
                </a:cubicBezTo>
                <a:cubicBezTo>
                  <a:pt x="326472" y="455770"/>
                  <a:pt x="323601" y="459055"/>
                  <a:pt x="319499" y="459055"/>
                </a:cubicBezTo>
                <a:lnTo>
                  <a:pt x="32811" y="459055"/>
                </a:lnTo>
                <a:cubicBezTo>
                  <a:pt x="14765" y="459055"/>
                  <a:pt x="0" y="444273"/>
                  <a:pt x="0" y="426206"/>
                </a:cubicBezTo>
                <a:lnTo>
                  <a:pt x="0" y="62001"/>
                </a:lnTo>
                <a:cubicBezTo>
                  <a:pt x="0" y="44345"/>
                  <a:pt x="14765" y="29153"/>
                  <a:pt x="32811" y="29153"/>
                </a:cubicBezTo>
                <a:lnTo>
                  <a:pt x="60291" y="29153"/>
                </a:lnTo>
                <a:lnTo>
                  <a:pt x="60291" y="20941"/>
                </a:lnTo>
                <a:cubicBezTo>
                  <a:pt x="60291" y="9444"/>
                  <a:pt x="69724" y="0"/>
                  <a:pt x="81208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8" name="Freeform 23">
            <a:extLst>
              <a:ext uri="{FF2B5EF4-FFF2-40B4-BE49-F238E27FC236}">
                <a16:creationId xmlns:a16="http://schemas.microsoft.com/office/drawing/2014/main" id="{6E5F9FA4-1AC3-4582-8544-B5B9C7B00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4402" y="5983454"/>
            <a:ext cx="615548" cy="483740"/>
          </a:xfrm>
          <a:custGeom>
            <a:avLst/>
            <a:gdLst>
              <a:gd name="connsiteX0" fmla="*/ 256490 w 518355"/>
              <a:gd name="connsiteY0" fmla="*/ 150903 h 407360"/>
              <a:gd name="connsiteX1" fmla="*/ 261461 w 518355"/>
              <a:gd name="connsiteY1" fmla="*/ 150903 h 407360"/>
              <a:gd name="connsiteX2" fmla="*/ 263946 w 518355"/>
              <a:gd name="connsiteY2" fmla="*/ 153370 h 407360"/>
              <a:gd name="connsiteX3" fmla="*/ 263946 w 518355"/>
              <a:gd name="connsiteY3" fmla="*/ 165292 h 407360"/>
              <a:gd name="connsiteX4" fmla="*/ 270989 w 518355"/>
              <a:gd name="connsiteY4" fmla="*/ 166937 h 407360"/>
              <a:gd name="connsiteX5" fmla="*/ 277617 w 518355"/>
              <a:gd name="connsiteY5" fmla="*/ 172282 h 407360"/>
              <a:gd name="connsiteX6" fmla="*/ 282173 w 518355"/>
              <a:gd name="connsiteY6" fmla="*/ 180504 h 407360"/>
              <a:gd name="connsiteX7" fmla="*/ 283830 w 518355"/>
              <a:gd name="connsiteY7" fmla="*/ 189549 h 407360"/>
              <a:gd name="connsiteX8" fmla="*/ 281759 w 518355"/>
              <a:gd name="connsiteY8" fmla="*/ 192426 h 407360"/>
              <a:gd name="connsiteX9" fmla="*/ 274717 w 518355"/>
              <a:gd name="connsiteY9" fmla="*/ 194482 h 407360"/>
              <a:gd name="connsiteX10" fmla="*/ 271403 w 518355"/>
              <a:gd name="connsiteY10" fmla="*/ 192015 h 407360"/>
              <a:gd name="connsiteX11" fmla="*/ 270160 w 518355"/>
              <a:gd name="connsiteY11" fmla="*/ 185437 h 407360"/>
              <a:gd name="connsiteX12" fmla="*/ 266018 w 518355"/>
              <a:gd name="connsiteY12" fmla="*/ 178037 h 407360"/>
              <a:gd name="connsiteX13" fmla="*/ 257318 w 518355"/>
              <a:gd name="connsiteY13" fmla="*/ 175982 h 407360"/>
              <a:gd name="connsiteX14" fmla="*/ 249033 w 518355"/>
              <a:gd name="connsiteY14" fmla="*/ 179271 h 407360"/>
              <a:gd name="connsiteX15" fmla="*/ 245719 w 518355"/>
              <a:gd name="connsiteY15" fmla="*/ 187493 h 407360"/>
              <a:gd name="connsiteX16" fmla="*/ 247376 w 518355"/>
              <a:gd name="connsiteY16" fmla="*/ 195715 h 407360"/>
              <a:gd name="connsiteX17" fmla="*/ 252762 w 518355"/>
              <a:gd name="connsiteY17" fmla="*/ 201882 h 407360"/>
              <a:gd name="connsiteX18" fmla="*/ 270989 w 518355"/>
              <a:gd name="connsiteY18" fmla="*/ 217916 h 407360"/>
              <a:gd name="connsiteX19" fmla="*/ 278031 w 518355"/>
              <a:gd name="connsiteY19" fmla="*/ 225316 h 407360"/>
              <a:gd name="connsiteX20" fmla="*/ 283830 w 518355"/>
              <a:gd name="connsiteY20" fmla="*/ 235183 h 407360"/>
              <a:gd name="connsiteX21" fmla="*/ 285902 w 518355"/>
              <a:gd name="connsiteY21" fmla="*/ 247106 h 407360"/>
              <a:gd name="connsiteX22" fmla="*/ 283002 w 518355"/>
              <a:gd name="connsiteY22" fmla="*/ 259850 h 407360"/>
              <a:gd name="connsiteX23" fmla="*/ 275545 w 518355"/>
              <a:gd name="connsiteY23" fmla="*/ 268073 h 407360"/>
              <a:gd name="connsiteX24" fmla="*/ 263946 w 518355"/>
              <a:gd name="connsiteY24" fmla="*/ 272184 h 407360"/>
              <a:gd name="connsiteX25" fmla="*/ 263946 w 518355"/>
              <a:gd name="connsiteY25" fmla="*/ 281229 h 407360"/>
              <a:gd name="connsiteX26" fmla="*/ 263946 w 518355"/>
              <a:gd name="connsiteY26" fmla="*/ 283695 h 407360"/>
              <a:gd name="connsiteX27" fmla="*/ 261461 w 518355"/>
              <a:gd name="connsiteY27" fmla="*/ 286162 h 407360"/>
              <a:gd name="connsiteX28" fmla="*/ 256490 w 518355"/>
              <a:gd name="connsiteY28" fmla="*/ 286162 h 407360"/>
              <a:gd name="connsiteX29" fmla="*/ 254419 w 518355"/>
              <a:gd name="connsiteY29" fmla="*/ 283695 h 407360"/>
              <a:gd name="connsiteX30" fmla="*/ 254419 w 518355"/>
              <a:gd name="connsiteY30" fmla="*/ 271773 h 407360"/>
              <a:gd name="connsiteX31" fmla="*/ 239505 w 518355"/>
              <a:gd name="connsiteY31" fmla="*/ 263550 h 407360"/>
              <a:gd name="connsiteX32" fmla="*/ 232463 w 518355"/>
              <a:gd name="connsiteY32" fmla="*/ 244228 h 407360"/>
              <a:gd name="connsiteX33" fmla="*/ 234534 w 518355"/>
              <a:gd name="connsiteY33" fmla="*/ 241350 h 407360"/>
              <a:gd name="connsiteX34" fmla="*/ 241991 w 518355"/>
              <a:gd name="connsiteY34" fmla="*/ 238883 h 407360"/>
              <a:gd name="connsiteX35" fmla="*/ 245719 w 518355"/>
              <a:gd name="connsiteY35" fmla="*/ 241350 h 407360"/>
              <a:gd name="connsiteX36" fmla="*/ 247376 w 518355"/>
              <a:gd name="connsiteY36" fmla="*/ 249161 h 407360"/>
              <a:gd name="connsiteX37" fmla="*/ 251933 w 518355"/>
              <a:gd name="connsiteY37" fmla="*/ 257384 h 407360"/>
              <a:gd name="connsiteX38" fmla="*/ 260218 w 518355"/>
              <a:gd name="connsiteY38" fmla="*/ 260673 h 407360"/>
              <a:gd name="connsiteX39" fmla="*/ 269332 w 518355"/>
              <a:gd name="connsiteY39" fmla="*/ 257384 h 407360"/>
              <a:gd name="connsiteX40" fmla="*/ 271817 w 518355"/>
              <a:gd name="connsiteY40" fmla="*/ 248339 h 407360"/>
              <a:gd name="connsiteX41" fmla="*/ 268917 w 518355"/>
              <a:gd name="connsiteY41" fmla="*/ 236828 h 407360"/>
              <a:gd name="connsiteX42" fmla="*/ 260632 w 518355"/>
              <a:gd name="connsiteY42" fmla="*/ 228194 h 407360"/>
              <a:gd name="connsiteX43" fmla="*/ 242405 w 518355"/>
              <a:gd name="connsiteY43" fmla="*/ 212160 h 407360"/>
              <a:gd name="connsiteX44" fmla="*/ 237020 w 518355"/>
              <a:gd name="connsiteY44" fmla="*/ 205993 h 407360"/>
              <a:gd name="connsiteX45" fmla="*/ 233706 w 518355"/>
              <a:gd name="connsiteY45" fmla="*/ 198182 h 407360"/>
              <a:gd name="connsiteX46" fmla="*/ 232463 w 518355"/>
              <a:gd name="connsiteY46" fmla="*/ 188726 h 407360"/>
              <a:gd name="connsiteX47" fmla="*/ 239091 w 518355"/>
              <a:gd name="connsiteY47" fmla="*/ 171459 h 407360"/>
              <a:gd name="connsiteX48" fmla="*/ 254419 w 518355"/>
              <a:gd name="connsiteY48" fmla="*/ 164881 h 407360"/>
              <a:gd name="connsiteX49" fmla="*/ 254419 w 518355"/>
              <a:gd name="connsiteY49" fmla="*/ 153370 h 407360"/>
              <a:gd name="connsiteX50" fmla="*/ 256490 w 518355"/>
              <a:gd name="connsiteY50" fmla="*/ 150903 h 407360"/>
              <a:gd name="connsiteX51" fmla="*/ 259675 w 518355"/>
              <a:gd name="connsiteY51" fmla="*/ 121861 h 407360"/>
              <a:gd name="connsiteX52" fmla="*/ 165047 w 518355"/>
              <a:gd name="connsiteY52" fmla="*/ 216723 h 407360"/>
              <a:gd name="connsiteX53" fmla="*/ 259675 w 518355"/>
              <a:gd name="connsiteY53" fmla="*/ 311174 h 407360"/>
              <a:gd name="connsiteX54" fmla="*/ 354714 w 518355"/>
              <a:gd name="connsiteY54" fmla="*/ 216723 h 407360"/>
              <a:gd name="connsiteX55" fmla="*/ 259675 w 518355"/>
              <a:gd name="connsiteY55" fmla="*/ 121861 h 407360"/>
              <a:gd name="connsiteX56" fmla="*/ 259675 w 518355"/>
              <a:gd name="connsiteY56" fmla="*/ 107488 h 407360"/>
              <a:gd name="connsiteX57" fmla="*/ 369114 w 518355"/>
              <a:gd name="connsiteY57" fmla="*/ 216723 h 407360"/>
              <a:gd name="connsiteX58" fmla="*/ 259675 w 518355"/>
              <a:gd name="connsiteY58" fmla="*/ 325958 h 407360"/>
              <a:gd name="connsiteX59" fmla="*/ 150647 w 518355"/>
              <a:gd name="connsiteY59" fmla="*/ 216723 h 407360"/>
              <a:gd name="connsiteX60" fmla="*/ 259675 w 518355"/>
              <a:gd name="connsiteY60" fmla="*/ 107488 h 407360"/>
              <a:gd name="connsiteX61" fmla="*/ 258977 w 518355"/>
              <a:gd name="connsiteY61" fmla="*/ 79828 h 407360"/>
              <a:gd name="connsiteX62" fmla="*/ 121177 w 518355"/>
              <a:gd name="connsiteY62" fmla="*/ 217628 h 407360"/>
              <a:gd name="connsiteX63" fmla="*/ 258977 w 518355"/>
              <a:gd name="connsiteY63" fmla="*/ 355018 h 407360"/>
              <a:gd name="connsiteX64" fmla="*/ 396777 w 518355"/>
              <a:gd name="connsiteY64" fmla="*/ 217628 h 407360"/>
              <a:gd name="connsiteX65" fmla="*/ 258977 w 518355"/>
              <a:gd name="connsiteY65" fmla="*/ 79828 h 407360"/>
              <a:gd name="connsiteX66" fmla="*/ 258977 w 518355"/>
              <a:gd name="connsiteY66" fmla="*/ 65884 h 407360"/>
              <a:gd name="connsiteX67" fmla="*/ 410721 w 518355"/>
              <a:gd name="connsiteY67" fmla="*/ 217628 h 407360"/>
              <a:gd name="connsiteX68" fmla="*/ 258977 w 518355"/>
              <a:gd name="connsiteY68" fmla="*/ 369372 h 407360"/>
              <a:gd name="connsiteX69" fmla="*/ 107233 w 518355"/>
              <a:gd name="connsiteY69" fmla="*/ 217628 h 407360"/>
              <a:gd name="connsiteX70" fmla="*/ 258977 w 518355"/>
              <a:gd name="connsiteY70" fmla="*/ 65884 h 407360"/>
              <a:gd name="connsiteX71" fmla="*/ 80781 w 518355"/>
              <a:gd name="connsiteY71" fmla="*/ 51284 h 407360"/>
              <a:gd name="connsiteX72" fmla="*/ 77914 w 518355"/>
              <a:gd name="connsiteY72" fmla="*/ 52513 h 407360"/>
              <a:gd name="connsiteX73" fmla="*/ 46786 w 518355"/>
              <a:gd name="connsiteY73" fmla="*/ 340161 h 407360"/>
              <a:gd name="connsiteX74" fmla="*/ 49653 w 518355"/>
              <a:gd name="connsiteY74" fmla="*/ 345078 h 407360"/>
              <a:gd name="connsiteX75" fmla="*/ 29175 w 518355"/>
              <a:gd name="connsiteY75" fmla="*/ 365156 h 407360"/>
              <a:gd name="connsiteX76" fmla="*/ 113956 w 518355"/>
              <a:gd name="connsiteY76" fmla="*/ 391790 h 407360"/>
              <a:gd name="connsiteX77" fmla="*/ 87743 w 518355"/>
              <a:gd name="connsiteY77" fmla="*/ 306971 h 407360"/>
              <a:gd name="connsiteX78" fmla="*/ 73818 w 518355"/>
              <a:gd name="connsiteY78" fmla="*/ 320902 h 407360"/>
              <a:gd name="connsiteX79" fmla="*/ 69313 w 518355"/>
              <a:gd name="connsiteY79" fmla="*/ 311888 h 407360"/>
              <a:gd name="connsiteX80" fmla="*/ 102078 w 518355"/>
              <a:gd name="connsiteY80" fmla="*/ 75459 h 407360"/>
              <a:gd name="connsiteX81" fmla="*/ 101669 w 518355"/>
              <a:gd name="connsiteY81" fmla="*/ 70952 h 407360"/>
              <a:gd name="connsiteX82" fmla="*/ 83238 w 518355"/>
              <a:gd name="connsiteY82" fmla="*/ 52103 h 407360"/>
              <a:gd name="connsiteX83" fmla="*/ 80781 w 518355"/>
              <a:gd name="connsiteY83" fmla="*/ 51284 h 407360"/>
              <a:gd name="connsiteX84" fmla="*/ 80371 w 518355"/>
              <a:gd name="connsiteY84" fmla="*/ 36942 h 407360"/>
              <a:gd name="connsiteX85" fmla="*/ 93477 w 518355"/>
              <a:gd name="connsiteY85" fmla="*/ 42269 h 407360"/>
              <a:gd name="connsiteX86" fmla="*/ 111908 w 518355"/>
              <a:gd name="connsiteY86" fmla="*/ 60708 h 407360"/>
              <a:gd name="connsiteX87" fmla="*/ 112317 w 518355"/>
              <a:gd name="connsiteY87" fmla="*/ 85293 h 407360"/>
              <a:gd name="connsiteX88" fmla="*/ 77504 w 518355"/>
              <a:gd name="connsiteY88" fmla="*/ 296727 h 407360"/>
              <a:gd name="connsiteX89" fmla="*/ 79961 w 518355"/>
              <a:gd name="connsiteY89" fmla="*/ 294268 h 407360"/>
              <a:gd name="connsiteX90" fmla="*/ 91020 w 518355"/>
              <a:gd name="connsiteY90" fmla="*/ 290990 h 407360"/>
              <a:gd name="connsiteX91" fmla="*/ 99621 w 518355"/>
              <a:gd name="connsiteY91" fmla="*/ 297956 h 407360"/>
              <a:gd name="connsiteX92" fmla="*/ 99621 w 518355"/>
              <a:gd name="connsiteY92" fmla="*/ 298366 h 407360"/>
              <a:gd name="connsiteX93" fmla="*/ 128700 w 518355"/>
              <a:gd name="connsiteY93" fmla="*/ 391380 h 407360"/>
              <a:gd name="connsiteX94" fmla="*/ 126243 w 518355"/>
              <a:gd name="connsiteY94" fmla="*/ 404082 h 407360"/>
              <a:gd name="connsiteX95" fmla="*/ 117642 w 518355"/>
              <a:gd name="connsiteY95" fmla="*/ 407360 h 407360"/>
              <a:gd name="connsiteX96" fmla="*/ 113546 w 518355"/>
              <a:gd name="connsiteY96" fmla="*/ 406951 h 407360"/>
              <a:gd name="connsiteX97" fmla="*/ 20574 w 518355"/>
              <a:gd name="connsiteY97" fmla="*/ 377448 h 407360"/>
              <a:gd name="connsiteX98" fmla="*/ 13202 w 518355"/>
              <a:gd name="connsiteY98" fmla="*/ 368434 h 407360"/>
              <a:gd name="connsiteX99" fmla="*/ 16478 w 518355"/>
              <a:gd name="connsiteY99" fmla="*/ 357780 h 407360"/>
              <a:gd name="connsiteX100" fmla="*/ 31632 w 518355"/>
              <a:gd name="connsiteY100" fmla="*/ 342619 h 407360"/>
              <a:gd name="connsiteX101" fmla="*/ 67265 w 518355"/>
              <a:gd name="connsiteY101" fmla="*/ 43088 h 407360"/>
              <a:gd name="connsiteX102" fmla="*/ 80371 w 518355"/>
              <a:gd name="connsiteY102" fmla="*/ 36942 h 407360"/>
              <a:gd name="connsiteX103" fmla="*/ 380514 w 518355"/>
              <a:gd name="connsiteY103" fmla="*/ 15748 h 407360"/>
              <a:gd name="connsiteX104" fmla="*/ 406777 w 518355"/>
              <a:gd name="connsiteY104" fmla="*/ 100126 h 407360"/>
              <a:gd name="connsiteX105" fmla="*/ 423602 w 518355"/>
              <a:gd name="connsiteY105" fmla="*/ 83742 h 407360"/>
              <a:gd name="connsiteX106" fmla="*/ 428526 w 518355"/>
              <a:gd name="connsiteY106" fmla="*/ 90296 h 407360"/>
              <a:gd name="connsiteX107" fmla="*/ 416626 w 518355"/>
              <a:gd name="connsiteY107" fmla="*/ 359814 h 407360"/>
              <a:gd name="connsiteX108" fmla="*/ 416626 w 518355"/>
              <a:gd name="connsiteY108" fmla="*/ 364729 h 407360"/>
              <a:gd name="connsiteX109" fmla="*/ 435502 w 518355"/>
              <a:gd name="connsiteY109" fmla="*/ 383161 h 407360"/>
              <a:gd name="connsiteX110" fmla="*/ 437964 w 518355"/>
              <a:gd name="connsiteY110" fmla="*/ 384390 h 407360"/>
              <a:gd name="connsiteX111" fmla="*/ 440426 w 518355"/>
              <a:gd name="connsiteY111" fmla="*/ 383161 h 407360"/>
              <a:gd name="connsiteX112" fmla="*/ 451096 w 518355"/>
              <a:gd name="connsiteY112" fmla="*/ 65310 h 407360"/>
              <a:gd name="connsiteX113" fmla="*/ 446992 w 518355"/>
              <a:gd name="connsiteY113" fmla="*/ 59985 h 407360"/>
              <a:gd name="connsiteX114" fmla="*/ 465048 w 518355"/>
              <a:gd name="connsiteY114" fmla="*/ 41962 h 407360"/>
              <a:gd name="connsiteX115" fmla="*/ 380925 w 518355"/>
              <a:gd name="connsiteY115" fmla="*/ 1002 h 407360"/>
              <a:gd name="connsiteX116" fmla="*/ 474076 w 518355"/>
              <a:gd name="connsiteY116" fmla="*/ 30084 h 407360"/>
              <a:gd name="connsiteX117" fmla="*/ 481052 w 518355"/>
              <a:gd name="connsiteY117" fmla="*/ 38686 h 407360"/>
              <a:gd name="connsiteX118" fmla="*/ 478179 w 518355"/>
              <a:gd name="connsiteY118" fmla="*/ 49745 h 407360"/>
              <a:gd name="connsiteX119" fmla="*/ 466279 w 518355"/>
              <a:gd name="connsiteY119" fmla="*/ 61214 h 407360"/>
              <a:gd name="connsiteX120" fmla="*/ 451096 w 518355"/>
              <a:gd name="connsiteY120" fmla="*/ 392582 h 407360"/>
              <a:gd name="connsiteX121" fmla="*/ 438375 w 518355"/>
              <a:gd name="connsiteY121" fmla="*/ 398317 h 407360"/>
              <a:gd name="connsiteX122" fmla="*/ 437554 w 518355"/>
              <a:gd name="connsiteY122" fmla="*/ 398317 h 407360"/>
              <a:gd name="connsiteX123" fmla="*/ 425243 w 518355"/>
              <a:gd name="connsiteY123" fmla="*/ 392992 h 407360"/>
              <a:gd name="connsiteX124" fmla="*/ 406777 w 518355"/>
              <a:gd name="connsiteY124" fmla="*/ 374969 h 407360"/>
              <a:gd name="connsiteX125" fmla="*/ 405956 w 518355"/>
              <a:gd name="connsiteY125" fmla="*/ 349984 h 407360"/>
              <a:gd name="connsiteX126" fmla="*/ 421960 w 518355"/>
              <a:gd name="connsiteY126" fmla="*/ 105451 h 407360"/>
              <a:gd name="connsiteX127" fmla="*/ 414164 w 518355"/>
              <a:gd name="connsiteY127" fmla="*/ 113233 h 407360"/>
              <a:gd name="connsiteX128" fmla="*/ 403494 w 518355"/>
              <a:gd name="connsiteY128" fmla="*/ 116510 h 407360"/>
              <a:gd name="connsiteX129" fmla="*/ 394877 w 518355"/>
              <a:gd name="connsiteY129" fmla="*/ 109547 h 407360"/>
              <a:gd name="connsiteX130" fmla="*/ 394467 w 518355"/>
              <a:gd name="connsiteY130" fmla="*/ 108728 h 407360"/>
              <a:gd name="connsiteX131" fmla="*/ 365331 w 518355"/>
              <a:gd name="connsiteY131" fmla="*/ 16157 h 407360"/>
              <a:gd name="connsiteX132" fmla="*/ 368204 w 518355"/>
              <a:gd name="connsiteY132" fmla="*/ 3460 h 407360"/>
              <a:gd name="connsiteX133" fmla="*/ 380925 w 518355"/>
              <a:gd name="connsiteY133" fmla="*/ 1002 h 40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518355" h="407360">
                <a:moveTo>
                  <a:pt x="256490" y="150903"/>
                </a:moveTo>
                <a:lnTo>
                  <a:pt x="261461" y="150903"/>
                </a:lnTo>
                <a:cubicBezTo>
                  <a:pt x="262704" y="150903"/>
                  <a:pt x="263946" y="152137"/>
                  <a:pt x="263946" y="153370"/>
                </a:cubicBezTo>
                <a:lnTo>
                  <a:pt x="263946" y="165292"/>
                </a:lnTo>
                <a:cubicBezTo>
                  <a:pt x="266432" y="165292"/>
                  <a:pt x="268503" y="166115"/>
                  <a:pt x="270989" y="166937"/>
                </a:cubicBezTo>
                <a:cubicBezTo>
                  <a:pt x="273474" y="168170"/>
                  <a:pt x="275545" y="169815"/>
                  <a:pt x="277617" y="172282"/>
                </a:cubicBezTo>
                <a:cubicBezTo>
                  <a:pt x="279274" y="174337"/>
                  <a:pt x="280931" y="177215"/>
                  <a:pt x="282173" y="180504"/>
                </a:cubicBezTo>
                <a:cubicBezTo>
                  <a:pt x="283002" y="182971"/>
                  <a:pt x="283830" y="186260"/>
                  <a:pt x="283830" y="189549"/>
                </a:cubicBezTo>
                <a:cubicBezTo>
                  <a:pt x="284245" y="190782"/>
                  <a:pt x="283416" y="192015"/>
                  <a:pt x="281759" y="192426"/>
                </a:cubicBezTo>
                <a:lnTo>
                  <a:pt x="274717" y="194482"/>
                </a:lnTo>
                <a:cubicBezTo>
                  <a:pt x="273060" y="194893"/>
                  <a:pt x="271403" y="193660"/>
                  <a:pt x="271403" y="192015"/>
                </a:cubicBezTo>
                <a:cubicBezTo>
                  <a:pt x="270989" y="189549"/>
                  <a:pt x="270574" y="187493"/>
                  <a:pt x="270160" y="185437"/>
                </a:cubicBezTo>
                <a:cubicBezTo>
                  <a:pt x="269332" y="182560"/>
                  <a:pt x="268089" y="180093"/>
                  <a:pt x="266018" y="178037"/>
                </a:cubicBezTo>
                <a:cubicBezTo>
                  <a:pt x="263946" y="176393"/>
                  <a:pt x="261461" y="175571"/>
                  <a:pt x="257318" y="175982"/>
                </a:cubicBezTo>
                <a:cubicBezTo>
                  <a:pt x="253590" y="176393"/>
                  <a:pt x="250690" y="177215"/>
                  <a:pt x="249033" y="179271"/>
                </a:cubicBezTo>
                <a:cubicBezTo>
                  <a:pt x="246548" y="180915"/>
                  <a:pt x="245719" y="183793"/>
                  <a:pt x="245719" y="187493"/>
                </a:cubicBezTo>
                <a:cubicBezTo>
                  <a:pt x="245719" y="190782"/>
                  <a:pt x="246134" y="193249"/>
                  <a:pt x="247376" y="195715"/>
                </a:cubicBezTo>
                <a:cubicBezTo>
                  <a:pt x="248205" y="197360"/>
                  <a:pt x="250276" y="199416"/>
                  <a:pt x="252762" y="201882"/>
                </a:cubicBezTo>
                <a:lnTo>
                  <a:pt x="270989" y="217916"/>
                </a:lnTo>
                <a:cubicBezTo>
                  <a:pt x="273060" y="219972"/>
                  <a:pt x="275545" y="222438"/>
                  <a:pt x="278031" y="225316"/>
                </a:cubicBezTo>
                <a:cubicBezTo>
                  <a:pt x="280102" y="228194"/>
                  <a:pt x="282588" y="231894"/>
                  <a:pt x="283830" y="235183"/>
                </a:cubicBezTo>
                <a:cubicBezTo>
                  <a:pt x="285073" y="238883"/>
                  <a:pt x="285902" y="242583"/>
                  <a:pt x="285902" y="247106"/>
                </a:cubicBezTo>
                <a:cubicBezTo>
                  <a:pt x="285902" y="252039"/>
                  <a:pt x="285073" y="256150"/>
                  <a:pt x="283002" y="259850"/>
                </a:cubicBezTo>
                <a:cubicBezTo>
                  <a:pt x="281345" y="263550"/>
                  <a:pt x="278859" y="266017"/>
                  <a:pt x="275545" y="268073"/>
                </a:cubicBezTo>
                <a:cubicBezTo>
                  <a:pt x="272231" y="270540"/>
                  <a:pt x="268503" y="271773"/>
                  <a:pt x="263946" y="272184"/>
                </a:cubicBezTo>
                <a:lnTo>
                  <a:pt x="263946" y="281229"/>
                </a:lnTo>
                <a:lnTo>
                  <a:pt x="263946" y="283695"/>
                </a:lnTo>
                <a:cubicBezTo>
                  <a:pt x="263946" y="284929"/>
                  <a:pt x="262704" y="286162"/>
                  <a:pt x="261461" y="286162"/>
                </a:cubicBezTo>
                <a:lnTo>
                  <a:pt x="256490" y="286162"/>
                </a:lnTo>
                <a:cubicBezTo>
                  <a:pt x="255661" y="286162"/>
                  <a:pt x="254419" y="284929"/>
                  <a:pt x="254419" y="283695"/>
                </a:cubicBezTo>
                <a:lnTo>
                  <a:pt x="254419" y="271773"/>
                </a:lnTo>
                <a:cubicBezTo>
                  <a:pt x="247791" y="270540"/>
                  <a:pt x="242819" y="268073"/>
                  <a:pt x="239505" y="263550"/>
                </a:cubicBezTo>
                <a:cubicBezTo>
                  <a:pt x="235363" y="258617"/>
                  <a:pt x="232877" y="251628"/>
                  <a:pt x="232463" y="244228"/>
                </a:cubicBezTo>
                <a:cubicBezTo>
                  <a:pt x="232049" y="242583"/>
                  <a:pt x="232877" y="241350"/>
                  <a:pt x="234534" y="241350"/>
                </a:cubicBezTo>
                <a:lnTo>
                  <a:pt x="241991" y="238883"/>
                </a:lnTo>
                <a:cubicBezTo>
                  <a:pt x="243648" y="238472"/>
                  <a:pt x="245305" y="239705"/>
                  <a:pt x="245719" y="241350"/>
                </a:cubicBezTo>
                <a:cubicBezTo>
                  <a:pt x="246134" y="243817"/>
                  <a:pt x="246548" y="246694"/>
                  <a:pt x="247376" y="249161"/>
                </a:cubicBezTo>
                <a:cubicBezTo>
                  <a:pt x="248205" y="252450"/>
                  <a:pt x="249448" y="255328"/>
                  <a:pt x="251933" y="257384"/>
                </a:cubicBezTo>
                <a:cubicBezTo>
                  <a:pt x="253590" y="259850"/>
                  <a:pt x="256490" y="260673"/>
                  <a:pt x="260218" y="260673"/>
                </a:cubicBezTo>
                <a:cubicBezTo>
                  <a:pt x="264361" y="260673"/>
                  <a:pt x="267260" y="259850"/>
                  <a:pt x="269332" y="257384"/>
                </a:cubicBezTo>
                <a:cubicBezTo>
                  <a:pt x="270989" y="255328"/>
                  <a:pt x="271817" y="252450"/>
                  <a:pt x="271817" y="248339"/>
                </a:cubicBezTo>
                <a:cubicBezTo>
                  <a:pt x="271817" y="243406"/>
                  <a:pt x="270989" y="240117"/>
                  <a:pt x="268917" y="236828"/>
                </a:cubicBezTo>
                <a:cubicBezTo>
                  <a:pt x="266846" y="233950"/>
                  <a:pt x="263946" y="230661"/>
                  <a:pt x="260632" y="228194"/>
                </a:cubicBezTo>
                <a:lnTo>
                  <a:pt x="242405" y="212160"/>
                </a:lnTo>
                <a:cubicBezTo>
                  <a:pt x="240334" y="210516"/>
                  <a:pt x="238677" y="208049"/>
                  <a:pt x="237020" y="205993"/>
                </a:cubicBezTo>
                <a:cubicBezTo>
                  <a:pt x="235363" y="203527"/>
                  <a:pt x="234120" y="201060"/>
                  <a:pt x="233706" y="198182"/>
                </a:cubicBezTo>
                <a:cubicBezTo>
                  <a:pt x="232877" y="195715"/>
                  <a:pt x="232463" y="192426"/>
                  <a:pt x="232463" y="188726"/>
                </a:cubicBezTo>
                <a:cubicBezTo>
                  <a:pt x="232463" y="181326"/>
                  <a:pt x="234534" y="175571"/>
                  <a:pt x="239091" y="171459"/>
                </a:cubicBezTo>
                <a:cubicBezTo>
                  <a:pt x="242405" y="167348"/>
                  <a:pt x="247791" y="165292"/>
                  <a:pt x="254419" y="164881"/>
                </a:cubicBezTo>
                <a:lnTo>
                  <a:pt x="254419" y="153370"/>
                </a:lnTo>
                <a:cubicBezTo>
                  <a:pt x="254419" y="152137"/>
                  <a:pt x="255661" y="150903"/>
                  <a:pt x="256490" y="150903"/>
                </a:cubicBezTo>
                <a:close/>
                <a:moveTo>
                  <a:pt x="259675" y="121861"/>
                </a:moveTo>
                <a:cubicBezTo>
                  <a:pt x="207424" y="121861"/>
                  <a:pt x="165047" y="164159"/>
                  <a:pt x="165047" y="216723"/>
                </a:cubicBezTo>
                <a:cubicBezTo>
                  <a:pt x="165047" y="268876"/>
                  <a:pt x="207424" y="311174"/>
                  <a:pt x="259675" y="311174"/>
                </a:cubicBezTo>
                <a:cubicBezTo>
                  <a:pt x="312337" y="311174"/>
                  <a:pt x="354714" y="268876"/>
                  <a:pt x="354714" y="216723"/>
                </a:cubicBezTo>
                <a:cubicBezTo>
                  <a:pt x="354714" y="164159"/>
                  <a:pt x="312337" y="121861"/>
                  <a:pt x="259675" y="121861"/>
                </a:cubicBezTo>
                <a:close/>
                <a:moveTo>
                  <a:pt x="259675" y="107488"/>
                </a:moveTo>
                <a:cubicBezTo>
                  <a:pt x="320154" y="107488"/>
                  <a:pt x="369114" y="156356"/>
                  <a:pt x="369114" y="216723"/>
                </a:cubicBezTo>
                <a:cubicBezTo>
                  <a:pt x="369114" y="276679"/>
                  <a:pt x="320154" y="325958"/>
                  <a:pt x="259675" y="325958"/>
                </a:cubicBezTo>
                <a:cubicBezTo>
                  <a:pt x="199606" y="325958"/>
                  <a:pt x="150647" y="276679"/>
                  <a:pt x="150647" y="216723"/>
                </a:cubicBezTo>
                <a:cubicBezTo>
                  <a:pt x="150647" y="156356"/>
                  <a:pt x="199606" y="107488"/>
                  <a:pt x="259675" y="107488"/>
                </a:cubicBezTo>
                <a:close/>
                <a:moveTo>
                  <a:pt x="258977" y="79828"/>
                </a:moveTo>
                <a:cubicBezTo>
                  <a:pt x="183105" y="79828"/>
                  <a:pt x="121177" y="141756"/>
                  <a:pt x="121177" y="217628"/>
                </a:cubicBezTo>
                <a:cubicBezTo>
                  <a:pt x="121177" y="293500"/>
                  <a:pt x="183105" y="355018"/>
                  <a:pt x="258977" y="355018"/>
                </a:cubicBezTo>
                <a:cubicBezTo>
                  <a:pt x="334849" y="355018"/>
                  <a:pt x="396777" y="293500"/>
                  <a:pt x="396777" y="217628"/>
                </a:cubicBezTo>
                <a:cubicBezTo>
                  <a:pt x="396777" y="141756"/>
                  <a:pt x="334849" y="79828"/>
                  <a:pt x="258977" y="79828"/>
                </a:cubicBezTo>
                <a:close/>
                <a:moveTo>
                  <a:pt x="258977" y="65884"/>
                </a:moveTo>
                <a:cubicBezTo>
                  <a:pt x="343051" y="65884"/>
                  <a:pt x="410721" y="133964"/>
                  <a:pt x="410721" y="217628"/>
                </a:cubicBezTo>
                <a:cubicBezTo>
                  <a:pt x="410721" y="301292"/>
                  <a:pt x="343051" y="369372"/>
                  <a:pt x="258977" y="369372"/>
                </a:cubicBezTo>
                <a:cubicBezTo>
                  <a:pt x="175313" y="369372"/>
                  <a:pt x="107233" y="301292"/>
                  <a:pt x="107233" y="217628"/>
                </a:cubicBezTo>
                <a:cubicBezTo>
                  <a:pt x="107233" y="133964"/>
                  <a:pt x="175313" y="65884"/>
                  <a:pt x="258977" y="65884"/>
                </a:cubicBezTo>
                <a:close/>
                <a:moveTo>
                  <a:pt x="80781" y="51284"/>
                </a:moveTo>
                <a:cubicBezTo>
                  <a:pt x="79961" y="51284"/>
                  <a:pt x="78733" y="51284"/>
                  <a:pt x="77914" y="52513"/>
                </a:cubicBezTo>
                <a:cubicBezTo>
                  <a:pt x="6649" y="130366"/>
                  <a:pt x="-6458" y="249195"/>
                  <a:pt x="46786" y="340161"/>
                </a:cubicBezTo>
                <a:lnTo>
                  <a:pt x="49653" y="345078"/>
                </a:lnTo>
                <a:lnTo>
                  <a:pt x="29175" y="365156"/>
                </a:lnTo>
                <a:lnTo>
                  <a:pt x="113956" y="391790"/>
                </a:lnTo>
                <a:lnTo>
                  <a:pt x="87743" y="306971"/>
                </a:lnTo>
                <a:lnTo>
                  <a:pt x="73818" y="320902"/>
                </a:lnTo>
                <a:lnTo>
                  <a:pt x="69313" y="311888"/>
                </a:lnTo>
                <a:cubicBezTo>
                  <a:pt x="30813" y="234444"/>
                  <a:pt x="43919" y="139791"/>
                  <a:pt x="102078" y="75459"/>
                </a:cubicBezTo>
                <a:cubicBezTo>
                  <a:pt x="103307" y="74230"/>
                  <a:pt x="103307" y="72181"/>
                  <a:pt x="101669" y="70952"/>
                </a:cubicBezTo>
                <a:lnTo>
                  <a:pt x="83238" y="52103"/>
                </a:lnTo>
                <a:cubicBezTo>
                  <a:pt x="82419" y="51284"/>
                  <a:pt x="81190" y="51284"/>
                  <a:pt x="80781" y="51284"/>
                </a:cubicBezTo>
                <a:close/>
                <a:moveTo>
                  <a:pt x="80371" y="36942"/>
                </a:moveTo>
                <a:cubicBezTo>
                  <a:pt x="85286" y="36942"/>
                  <a:pt x="89791" y="38991"/>
                  <a:pt x="93477" y="42269"/>
                </a:cubicBezTo>
                <a:lnTo>
                  <a:pt x="111908" y="60708"/>
                </a:lnTo>
                <a:cubicBezTo>
                  <a:pt x="118461" y="67264"/>
                  <a:pt x="118870" y="78327"/>
                  <a:pt x="112317" y="85293"/>
                </a:cubicBezTo>
                <a:cubicBezTo>
                  <a:pt x="60712" y="142249"/>
                  <a:pt x="47196" y="226249"/>
                  <a:pt x="77504" y="296727"/>
                </a:cubicBezTo>
                <a:lnTo>
                  <a:pt x="79961" y="294268"/>
                </a:lnTo>
                <a:cubicBezTo>
                  <a:pt x="82828" y="291400"/>
                  <a:pt x="86924" y="290171"/>
                  <a:pt x="91020" y="290990"/>
                </a:cubicBezTo>
                <a:cubicBezTo>
                  <a:pt x="95115" y="291810"/>
                  <a:pt x="97982" y="294268"/>
                  <a:pt x="99621" y="297956"/>
                </a:cubicBezTo>
                <a:lnTo>
                  <a:pt x="99621" y="298366"/>
                </a:lnTo>
                <a:lnTo>
                  <a:pt x="128700" y="391380"/>
                </a:lnTo>
                <a:cubicBezTo>
                  <a:pt x="130338" y="395478"/>
                  <a:pt x="129519" y="400804"/>
                  <a:pt x="126243" y="404082"/>
                </a:cubicBezTo>
                <a:cubicBezTo>
                  <a:pt x="123785" y="406131"/>
                  <a:pt x="120509" y="407360"/>
                  <a:pt x="117642" y="407360"/>
                </a:cubicBezTo>
                <a:cubicBezTo>
                  <a:pt x="116003" y="407360"/>
                  <a:pt x="114775" y="406951"/>
                  <a:pt x="113546" y="406951"/>
                </a:cubicBezTo>
                <a:lnTo>
                  <a:pt x="20574" y="377448"/>
                </a:lnTo>
                <a:cubicBezTo>
                  <a:pt x="16888" y="375809"/>
                  <a:pt x="14021" y="372531"/>
                  <a:pt x="13202" y="368434"/>
                </a:cubicBezTo>
                <a:cubicBezTo>
                  <a:pt x="12383" y="364746"/>
                  <a:pt x="13611" y="361058"/>
                  <a:pt x="16478" y="357780"/>
                </a:cubicBezTo>
                <a:lnTo>
                  <a:pt x="31632" y="342619"/>
                </a:lnTo>
                <a:cubicBezTo>
                  <a:pt x="-21202" y="246737"/>
                  <a:pt x="-6867" y="124220"/>
                  <a:pt x="67265" y="43088"/>
                </a:cubicBezTo>
                <a:cubicBezTo>
                  <a:pt x="70541" y="39401"/>
                  <a:pt x="75456" y="36942"/>
                  <a:pt x="80371" y="36942"/>
                </a:cubicBezTo>
                <a:close/>
                <a:moveTo>
                  <a:pt x="380514" y="15748"/>
                </a:moveTo>
                <a:lnTo>
                  <a:pt x="406777" y="100126"/>
                </a:lnTo>
                <a:lnTo>
                  <a:pt x="423602" y="83742"/>
                </a:lnTo>
                <a:lnTo>
                  <a:pt x="428526" y="90296"/>
                </a:lnTo>
                <a:cubicBezTo>
                  <a:pt x="490080" y="171397"/>
                  <a:pt x="484745" y="284447"/>
                  <a:pt x="416626" y="359814"/>
                </a:cubicBezTo>
                <a:cubicBezTo>
                  <a:pt x="415395" y="361452"/>
                  <a:pt x="415395" y="363091"/>
                  <a:pt x="416626" y="364729"/>
                </a:cubicBezTo>
                <a:lnTo>
                  <a:pt x="435502" y="383161"/>
                </a:lnTo>
                <a:cubicBezTo>
                  <a:pt x="436323" y="383981"/>
                  <a:pt x="437554" y="384390"/>
                  <a:pt x="437964" y="384390"/>
                </a:cubicBezTo>
                <a:cubicBezTo>
                  <a:pt x="438785" y="384390"/>
                  <a:pt x="439606" y="383981"/>
                  <a:pt x="440426" y="383161"/>
                </a:cubicBezTo>
                <a:cubicBezTo>
                  <a:pt x="521267" y="294687"/>
                  <a:pt x="525781" y="158290"/>
                  <a:pt x="451096" y="65310"/>
                </a:cubicBezTo>
                <a:lnTo>
                  <a:pt x="446992" y="59985"/>
                </a:lnTo>
                <a:lnTo>
                  <a:pt x="465048" y="41962"/>
                </a:lnTo>
                <a:close/>
                <a:moveTo>
                  <a:pt x="380925" y="1002"/>
                </a:moveTo>
                <a:lnTo>
                  <a:pt x="474076" y="30084"/>
                </a:lnTo>
                <a:cubicBezTo>
                  <a:pt x="477769" y="31313"/>
                  <a:pt x="480641" y="34999"/>
                  <a:pt x="481052" y="38686"/>
                </a:cubicBezTo>
                <a:cubicBezTo>
                  <a:pt x="482283" y="42782"/>
                  <a:pt x="481052" y="46468"/>
                  <a:pt x="478179" y="49745"/>
                </a:cubicBezTo>
                <a:lnTo>
                  <a:pt x="466279" y="61214"/>
                </a:lnTo>
                <a:cubicBezTo>
                  <a:pt x="540964" y="159518"/>
                  <a:pt x="534808" y="300831"/>
                  <a:pt x="451096" y="392582"/>
                </a:cubicBezTo>
                <a:cubicBezTo>
                  <a:pt x="447813" y="396269"/>
                  <a:pt x="443299" y="398317"/>
                  <a:pt x="438375" y="398317"/>
                </a:cubicBezTo>
                <a:cubicBezTo>
                  <a:pt x="437964" y="398317"/>
                  <a:pt x="437964" y="398317"/>
                  <a:pt x="437554" y="398317"/>
                </a:cubicBezTo>
                <a:cubicBezTo>
                  <a:pt x="433040" y="398317"/>
                  <a:pt x="428526" y="396269"/>
                  <a:pt x="425243" y="392992"/>
                </a:cubicBezTo>
                <a:lnTo>
                  <a:pt x="406777" y="374969"/>
                </a:lnTo>
                <a:cubicBezTo>
                  <a:pt x="399801" y="368006"/>
                  <a:pt x="399801" y="357356"/>
                  <a:pt x="405956" y="349984"/>
                </a:cubicBezTo>
                <a:cubicBezTo>
                  <a:pt x="467920" y="281990"/>
                  <a:pt x="474076" y="180408"/>
                  <a:pt x="421960" y="105451"/>
                </a:cubicBezTo>
                <a:lnTo>
                  <a:pt x="414164" y="113233"/>
                </a:lnTo>
                <a:cubicBezTo>
                  <a:pt x="411291" y="116101"/>
                  <a:pt x="407188" y="117329"/>
                  <a:pt x="403494" y="116510"/>
                </a:cubicBezTo>
                <a:cubicBezTo>
                  <a:pt x="399391" y="115691"/>
                  <a:pt x="396518" y="112824"/>
                  <a:pt x="394877" y="109547"/>
                </a:cubicBezTo>
                <a:lnTo>
                  <a:pt x="394467" y="108728"/>
                </a:lnTo>
                <a:lnTo>
                  <a:pt x="365331" y="16157"/>
                </a:lnTo>
                <a:cubicBezTo>
                  <a:pt x="364100" y="11652"/>
                  <a:pt x="364921" y="6737"/>
                  <a:pt x="368204" y="3460"/>
                </a:cubicBezTo>
                <a:cubicBezTo>
                  <a:pt x="371487" y="183"/>
                  <a:pt x="376411" y="-1046"/>
                  <a:pt x="380925" y="1002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66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E7073D-EACB-4091-91B4-AC64E5132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70986" y="6355588"/>
            <a:ext cx="5650028" cy="365030"/>
          </a:xfrm>
        </p:spPr>
        <p:txBody>
          <a:bodyPr/>
          <a:lstStyle/>
          <a:p>
            <a:pPr defTabSz="914126"/>
            <a:r>
              <a:rPr lang="en-US" dirty="0">
                <a:solidFill>
                  <a:prstClr val="black">
                    <a:tint val="75000"/>
                  </a:prstClr>
                </a:solidFill>
                <a:latin typeface="Calibri"/>
              </a:rPr>
              <a:t>Enterprise and the ‘e’ logo are registered trademarks of Enterprise Fleet Management, Inc. © 2020 Enterprise Fleet Management, Inc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6131" y="141048"/>
            <a:ext cx="1811697" cy="6038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232EB61-D486-1C4C-84BA-6902028EBFC9}"/>
              </a:ext>
            </a:extLst>
          </p:cNvPr>
          <p:cNvSpPr txBox="1"/>
          <p:nvPr/>
        </p:nvSpPr>
        <p:spPr>
          <a:xfrm>
            <a:off x="3414034" y="307000"/>
            <a:ext cx="53639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943"/>
            <a:r>
              <a:rPr lang="en-US" sz="3200" b="1" dirty="0">
                <a:solidFill>
                  <a:srgbClr val="000000"/>
                </a:solidFill>
                <a:latin typeface="Arial Narrow" panose="020B0606020202030204" pitchFamily="34" charset="0"/>
                <a:cs typeface="Poppins" pitchFamily="2" charset="77"/>
              </a:rPr>
              <a:t>GOVERNMENT BUYING POWER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44304" y="1047793"/>
            <a:ext cx="3815722" cy="20560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828F2B-F3E3-418B-8500-B5C11E8503FF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56" y="3236621"/>
            <a:ext cx="11322691" cy="28534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661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8188595-A152-0CBD-3E46-29E0987DE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893" y="224140"/>
            <a:ext cx="10634214" cy="66338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1AA3E11-19D6-C42E-1CD3-017A95644990}"/>
              </a:ext>
            </a:extLst>
          </p:cNvPr>
          <p:cNvSpPr txBox="1"/>
          <p:nvPr/>
        </p:nvSpPr>
        <p:spPr>
          <a:xfrm>
            <a:off x="3376974" y="107205"/>
            <a:ext cx="543805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 ENTITY – FLEET PROFILE</a:t>
            </a:r>
          </a:p>
        </p:txBody>
      </p:sp>
    </p:spTree>
    <p:extLst>
      <p:ext uri="{BB962C8B-B14F-4D97-AF65-F5344CB8AC3E}">
        <p14:creationId xmlns:p14="http://schemas.microsoft.com/office/powerpoint/2010/main" val="26579101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927D5FD-FB31-38C2-3637-5BB8F089AC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4300"/>
            <a:ext cx="12192000" cy="66447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5139388-53C3-9871-2F4F-C0D415FC7EED}"/>
              </a:ext>
            </a:extLst>
          </p:cNvPr>
          <p:cNvSpPr txBox="1"/>
          <p:nvPr/>
        </p:nvSpPr>
        <p:spPr>
          <a:xfrm>
            <a:off x="2753710" y="114300"/>
            <a:ext cx="640290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 ENTITY – FLEET PLANNING ANALYSI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E26C58-9D5F-F030-F973-A435ABD97375}"/>
              </a:ext>
            </a:extLst>
          </p:cNvPr>
          <p:cNvSpPr txBox="1"/>
          <p:nvPr/>
        </p:nvSpPr>
        <p:spPr>
          <a:xfrm>
            <a:off x="10363201" y="6097369"/>
            <a:ext cx="1828800" cy="646331"/>
          </a:xfrm>
          <a:prstGeom prst="rect">
            <a:avLst/>
          </a:prstGeom>
          <a:solidFill>
            <a:srgbClr val="04A664"/>
          </a:solidFill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1245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E22F492-E175-46D4-BFE8-21501006F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664" y="143731"/>
            <a:ext cx="11912672" cy="65705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387F5C1-4BED-FCBF-A2BB-D2E2F78DE337}"/>
              </a:ext>
            </a:extLst>
          </p:cNvPr>
          <p:cNvSpPr txBox="1"/>
          <p:nvPr/>
        </p:nvSpPr>
        <p:spPr>
          <a:xfrm>
            <a:off x="5079609" y="344659"/>
            <a:ext cx="2032781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Example Client</a:t>
            </a:r>
          </a:p>
        </p:txBody>
      </p:sp>
    </p:spTree>
    <p:extLst>
      <p:ext uri="{BB962C8B-B14F-4D97-AF65-F5344CB8AC3E}">
        <p14:creationId xmlns:p14="http://schemas.microsoft.com/office/powerpoint/2010/main" val="317808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29B6055B-7274-83AB-F9AA-714F67B30BFA}"/>
              </a:ext>
            </a:extLst>
          </p:cNvPr>
          <p:cNvSpPr txBox="1"/>
          <p:nvPr/>
        </p:nvSpPr>
        <p:spPr>
          <a:xfrm>
            <a:off x="3555083" y="755852"/>
            <a:ext cx="508504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STOKES COUNTY RESUL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972D7C-8403-2A2B-C28A-8D76AD5C211B}"/>
              </a:ext>
            </a:extLst>
          </p:cNvPr>
          <p:cNvSpPr txBox="1"/>
          <p:nvPr/>
        </p:nvSpPr>
        <p:spPr>
          <a:xfrm>
            <a:off x="5304758" y="1303581"/>
            <a:ext cx="15824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15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ANNUAL REVIEW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60D17C9-B79D-BD2C-FB01-A9170CE80C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431" y="1588644"/>
            <a:ext cx="8135638" cy="403735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ADA2E71-6F96-9671-3709-4EB7F4A19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4397" y="1580579"/>
            <a:ext cx="2708393" cy="17897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4CDE9A4-A985-F433-4884-1F13368FF7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41668" y="3370361"/>
            <a:ext cx="2708393" cy="2137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1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5D4598-6A53-4B79-B361-822EA2CFFB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"/>
                    </a14:imgEffect>
                  </a14:imgLayer>
                </a14:imgProps>
              </a:ext>
            </a:extLst>
          </a:blip>
          <a:srcRect l="1378" r="465"/>
          <a:stretch/>
        </p:blipFill>
        <p:spPr>
          <a:xfrm>
            <a:off x="3176" y="1223218"/>
            <a:ext cx="12185651" cy="434782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95" y="122770"/>
            <a:ext cx="1811225" cy="603742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5D3CB5F-D500-4F02-8B63-2883A299D3EE}"/>
              </a:ext>
            </a:extLst>
          </p:cNvPr>
          <p:cNvSpPr/>
          <p:nvPr/>
        </p:nvSpPr>
        <p:spPr>
          <a:xfrm rot="1380000">
            <a:off x="6609159" y="998635"/>
            <a:ext cx="5092340" cy="488597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C60FC4B-FD06-43DC-AFF1-65AC5095364F}"/>
              </a:ext>
            </a:extLst>
          </p:cNvPr>
          <p:cNvSpPr/>
          <p:nvPr/>
        </p:nvSpPr>
        <p:spPr>
          <a:xfrm rot="2700000">
            <a:off x="6543721" y="1037390"/>
            <a:ext cx="5109624" cy="4885977"/>
          </a:xfrm>
          <a:prstGeom prst="roundRect">
            <a:avLst/>
          </a:prstGeom>
          <a:solidFill>
            <a:srgbClr val="00A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B2B4BE8-815C-47F4-9462-09FE2ABA066A}"/>
              </a:ext>
            </a:extLst>
          </p:cNvPr>
          <p:cNvSpPr/>
          <p:nvPr/>
        </p:nvSpPr>
        <p:spPr>
          <a:xfrm rot="20458057">
            <a:off x="6696041" y="1189710"/>
            <a:ext cx="5109624" cy="488597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8D283-C420-427B-AA1C-31D72D2F90DE}"/>
              </a:ext>
            </a:extLst>
          </p:cNvPr>
          <p:cNvSpPr txBox="1"/>
          <p:nvPr/>
        </p:nvSpPr>
        <p:spPr>
          <a:xfrm>
            <a:off x="6788611" y="3079255"/>
            <a:ext cx="4988501" cy="110799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Poppins" pitchFamily="2" charset="77"/>
              </a:rPr>
              <a:t>OVERVIEW</a:t>
            </a:r>
          </a:p>
        </p:txBody>
      </p:sp>
      <p:sp>
        <p:nvSpPr>
          <p:cNvPr id="56" name="Freeform 3">
            <a:extLst>
              <a:ext uri="{FF2B5EF4-FFF2-40B4-BE49-F238E27FC236}">
                <a16:creationId xmlns:a16="http://schemas.microsoft.com/office/drawing/2014/main" id="{55E9462C-9030-451C-98D5-11E64E8F1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199" y="5900127"/>
            <a:ext cx="448463" cy="650398"/>
          </a:xfrm>
          <a:custGeom>
            <a:avLst/>
            <a:gdLst>
              <a:gd name="connsiteX0" fmla="*/ 7029 w 377653"/>
              <a:gd name="connsiteY0" fmla="*/ 524585 h 547704"/>
              <a:gd name="connsiteX1" fmla="*/ 14058 w 377653"/>
              <a:gd name="connsiteY1" fmla="*/ 531361 h 547704"/>
              <a:gd name="connsiteX2" fmla="*/ 14058 w 377653"/>
              <a:gd name="connsiteY2" fmla="*/ 540928 h 547704"/>
              <a:gd name="connsiteX3" fmla="*/ 7029 w 377653"/>
              <a:gd name="connsiteY3" fmla="*/ 547704 h 547704"/>
              <a:gd name="connsiteX4" fmla="*/ 0 w 377653"/>
              <a:gd name="connsiteY4" fmla="*/ 540928 h 547704"/>
              <a:gd name="connsiteX5" fmla="*/ 0 w 377653"/>
              <a:gd name="connsiteY5" fmla="*/ 531361 h 547704"/>
              <a:gd name="connsiteX6" fmla="*/ 7029 w 377653"/>
              <a:gd name="connsiteY6" fmla="*/ 524585 h 547704"/>
              <a:gd name="connsiteX7" fmla="*/ 45138 w 377653"/>
              <a:gd name="connsiteY7" fmla="*/ 513120 h 547704"/>
              <a:gd name="connsiteX8" fmla="*/ 45138 w 377653"/>
              <a:gd name="connsiteY8" fmla="*/ 524588 h 547704"/>
              <a:gd name="connsiteX9" fmla="*/ 51714 w 377653"/>
              <a:gd name="connsiteY9" fmla="*/ 531550 h 547704"/>
              <a:gd name="connsiteX10" fmla="*/ 356691 w 377653"/>
              <a:gd name="connsiteY10" fmla="*/ 531550 h 547704"/>
              <a:gd name="connsiteX11" fmla="*/ 363267 w 377653"/>
              <a:gd name="connsiteY11" fmla="*/ 524588 h 547704"/>
              <a:gd name="connsiteX12" fmla="*/ 363267 w 377653"/>
              <a:gd name="connsiteY12" fmla="*/ 513120 h 547704"/>
              <a:gd name="connsiteX13" fmla="*/ 356691 w 377653"/>
              <a:gd name="connsiteY13" fmla="*/ 514349 h 547704"/>
              <a:gd name="connsiteX14" fmla="*/ 51714 w 377653"/>
              <a:gd name="connsiteY14" fmla="*/ 514349 h 547704"/>
              <a:gd name="connsiteX15" fmla="*/ 45138 w 377653"/>
              <a:gd name="connsiteY15" fmla="*/ 513120 h 547704"/>
              <a:gd name="connsiteX16" fmla="*/ 7029 w 377653"/>
              <a:gd name="connsiteY16" fmla="*/ 454039 h 547704"/>
              <a:gd name="connsiteX17" fmla="*/ 14058 w 377653"/>
              <a:gd name="connsiteY17" fmla="*/ 460963 h 547704"/>
              <a:gd name="connsiteX18" fmla="*/ 14058 w 377653"/>
              <a:gd name="connsiteY18" fmla="*/ 508210 h 547704"/>
              <a:gd name="connsiteX19" fmla="*/ 7029 w 377653"/>
              <a:gd name="connsiteY19" fmla="*/ 515134 h 547704"/>
              <a:gd name="connsiteX20" fmla="*/ 0 w 377653"/>
              <a:gd name="connsiteY20" fmla="*/ 508210 h 547704"/>
              <a:gd name="connsiteX21" fmla="*/ 0 w 377653"/>
              <a:gd name="connsiteY21" fmla="*/ 460963 h 547704"/>
              <a:gd name="connsiteX22" fmla="*/ 7029 w 377653"/>
              <a:gd name="connsiteY22" fmla="*/ 454039 h 547704"/>
              <a:gd name="connsiteX23" fmla="*/ 256626 w 377653"/>
              <a:gd name="connsiteY23" fmla="*/ 437758 h 547704"/>
              <a:gd name="connsiteX24" fmla="*/ 337685 w 377653"/>
              <a:gd name="connsiteY24" fmla="*/ 437758 h 547704"/>
              <a:gd name="connsiteX25" fmla="*/ 345092 w 377653"/>
              <a:gd name="connsiteY25" fmla="*/ 444591 h 547704"/>
              <a:gd name="connsiteX26" fmla="*/ 337685 w 377653"/>
              <a:gd name="connsiteY26" fmla="*/ 451827 h 547704"/>
              <a:gd name="connsiteX27" fmla="*/ 256626 w 377653"/>
              <a:gd name="connsiteY27" fmla="*/ 451827 h 547704"/>
              <a:gd name="connsiteX28" fmla="*/ 249631 w 377653"/>
              <a:gd name="connsiteY28" fmla="*/ 444591 h 547704"/>
              <a:gd name="connsiteX29" fmla="*/ 256626 w 377653"/>
              <a:gd name="connsiteY29" fmla="*/ 437758 h 547704"/>
              <a:gd name="connsiteX30" fmla="*/ 256626 w 377653"/>
              <a:gd name="connsiteY30" fmla="*/ 390726 h 547704"/>
              <a:gd name="connsiteX31" fmla="*/ 337685 w 377653"/>
              <a:gd name="connsiteY31" fmla="*/ 390726 h 547704"/>
              <a:gd name="connsiteX32" fmla="*/ 345092 w 377653"/>
              <a:gd name="connsiteY32" fmla="*/ 397961 h 547704"/>
              <a:gd name="connsiteX33" fmla="*/ 337685 w 377653"/>
              <a:gd name="connsiteY33" fmla="*/ 404795 h 547704"/>
              <a:gd name="connsiteX34" fmla="*/ 256626 w 377653"/>
              <a:gd name="connsiteY34" fmla="*/ 404795 h 547704"/>
              <a:gd name="connsiteX35" fmla="*/ 249631 w 377653"/>
              <a:gd name="connsiteY35" fmla="*/ 397961 h 547704"/>
              <a:gd name="connsiteX36" fmla="*/ 256626 w 377653"/>
              <a:gd name="connsiteY36" fmla="*/ 390726 h 547704"/>
              <a:gd name="connsiteX37" fmla="*/ 189570 w 377653"/>
              <a:gd name="connsiteY37" fmla="*/ 390183 h 547704"/>
              <a:gd name="connsiteX38" fmla="*/ 189570 w 377653"/>
              <a:gd name="connsiteY38" fmla="*/ 439620 h 547704"/>
              <a:gd name="connsiteX39" fmla="*/ 203462 w 377653"/>
              <a:gd name="connsiteY39" fmla="*/ 439208 h 547704"/>
              <a:gd name="connsiteX40" fmla="*/ 203462 w 377653"/>
              <a:gd name="connsiteY40" fmla="*/ 390183 h 547704"/>
              <a:gd name="connsiteX41" fmla="*/ 95591 w 377653"/>
              <a:gd name="connsiteY41" fmla="*/ 358460 h 547704"/>
              <a:gd name="connsiteX42" fmla="*/ 95591 w 377653"/>
              <a:gd name="connsiteY42" fmla="*/ 439620 h 547704"/>
              <a:gd name="connsiteX43" fmla="*/ 109892 w 377653"/>
              <a:gd name="connsiteY43" fmla="*/ 439620 h 547704"/>
              <a:gd name="connsiteX44" fmla="*/ 109892 w 377653"/>
              <a:gd name="connsiteY44" fmla="*/ 358460 h 547704"/>
              <a:gd name="connsiteX45" fmla="*/ 256575 w 377653"/>
              <a:gd name="connsiteY45" fmla="*/ 343694 h 547704"/>
              <a:gd name="connsiteX46" fmla="*/ 305591 w 377653"/>
              <a:gd name="connsiteY46" fmla="*/ 343694 h 547704"/>
              <a:gd name="connsiteX47" fmla="*/ 312535 w 377653"/>
              <a:gd name="connsiteY47" fmla="*/ 350929 h 547704"/>
              <a:gd name="connsiteX48" fmla="*/ 305591 w 377653"/>
              <a:gd name="connsiteY48" fmla="*/ 357763 h 547704"/>
              <a:gd name="connsiteX49" fmla="*/ 256575 w 377653"/>
              <a:gd name="connsiteY49" fmla="*/ 357763 h 547704"/>
              <a:gd name="connsiteX50" fmla="*/ 249631 w 377653"/>
              <a:gd name="connsiteY50" fmla="*/ 350929 h 547704"/>
              <a:gd name="connsiteX51" fmla="*/ 256575 w 377653"/>
              <a:gd name="connsiteY51" fmla="*/ 343694 h 547704"/>
              <a:gd name="connsiteX52" fmla="*/ 142989 w 377653"/>
              <a:gd name="connsiteY52" fmla="*/ 326737 h 547704"/>
              <a:gd name="connsiteX53" fmla="*/ 142989 w 377653"/>
              <a:gd name="connsiteY53" fmla="*/ 439620 h 547704"/>
              <a:gd name="connsiteX54" fmla="*/ 156473 w 377653"/>
              <a:gd name="connsiteY54" fmla="*/ 439620 h 547704"/>
              <a:gd name="connsiteX55" fmla="*/ 156473 w 377653"/>
              <a:gd name="connsiteY55" fmla="*/ 327149 h 547704"/>
              <a:gd name="connsiteX56" fmla="*/ 70257 w 377653"/>
              <a:gd name="connsiteY56" fmla="*/ 296663 h 547704"/>
              <a:gd name="connsiteX57" fmla="*/ 77204 w 377653"/>
              <a:gd name="connsiteY57" fmla="*/ 303666 h 547704"/>
              <a:gd name="connsiteX58" fmla="*/ 77204 w 377653"/>
              <a:gd name="connsiteY58" fmla="*/ 439620 h 547704"/>
              <a:gd name="connsiteX59" fmla="*/ 81698 w 377653"/>
              <a:gd name="connsiteY59" fmla="*/ 439620 h 547704"/>
              <a:gd name="connsiteX60" fmla="*/ 81698 w 377653"/>
              <a:gd name="connsiteY60" fmla="*/ 355988 h 547704"/>
              <a:gd name="connsiteX61" fmla="*/ 93548 w 377653"/>
              <a:gd name="connsiteY61" fmla="*/ 344041 h 547704"/>
              <a:gd name="connsiteX62" fmla="*/ 112344 w 377653"/>
              <a:gd name="connsiteY62" fmla="*/ 344041 h 547704"/>
              <a:gd name="connsiteX63" fmla="*/ 123785 w 377653"/>
              <a:gd name="connsiteY63" fmla="*/ 355988 h 547704"/>
              <a:gd name="connsiteX64" fmla="*/ 123785 w 377653"/>
              <a:gd name="connsiteY64" fmla="*/ 439620 h 547704"/>
              <a:gd name="connsiteX65" fmla="*/ 128279 w 377653"/>
              <a:gd name="connsiteY65" fmla="*/ 439620 h 547704"/>
              <a:gd name="connsiteX66" fmla="*/ 128279 w 377653"/>
              <a:gd name="connsiteY66" fmla="*/ 324266 h 547704"/>
              <a:gd name="connsiteX67" fmla="*/ 131957 w 377653"/>
              <a:gd name="connsiteY67" fmla="*/ 316026 h 547704"/>
              <a:gd name="connsiteX68" fmla="*/ 140129 w 377653"/>
              <a:gd name="connsiteY68" fmla="*/ 312730 h 547704"/>
              <a:gd name="connsiteX69" fmla="*/ 159333 w 377653"/>
              <a:gd name="connsiteY69" fmla="*/ 312730 h 547704"/>
              <a:gd name="connsiteX70" fmla="*/ 170774 w 377653"/>
              <a:gd name="connsiteY70" fmla="*/ 324266 h 547704"/>
              <a:gd name="connsiteX71" fmla="*/ 170774 w 377653"/>
              <a:gd name="connsiteY71" fmla="*/ 439620 h 547704"/>
              <a:gd name="connsiteX72" fmla="*/ 175269 w 377653"/>
              <a:gd name="connsiteY72" fmla="*/ 439620 h 547704"/>
              <a:gd name="connsiteX73" fmla="*/ 175269 w 377653"/>
              <a:gd name="connsiteY73" fmla="*/ 387711 h 547704"/>
              <a:gd name="connsiteX74" fmla="*/ 187118 w 377653"/>
              <a:gd name="connsiteY74" fmla="*/ 375763 h 547704"/>
              <a:gd name="connsiteX75" fmla="*/ 206323 w 377653"/>
              <a:gd name="connsiteY75" fmla="*/ 375763 h 547704"/>
              <a:gd name="connsiteX76" fmla="*/ 217764 w 377653"/>
              <a:gd name="connsiteY76" fmla="*/ 387711 h 547704"/>
              <a:gd name="connsiteX77" fmla="*/ 217764 w 377653"/>
              <a:gd name="connsiteY77" fmla="*/ 439208 h 547704"/>
              <a:gd name="connsiteX78" fmla="*/ 229205 w 377653"/>
              <a:gd name="connsiteY78" fmla="*/ 439208 h 547704"/>
              <a:gd name="connsiteX79" fmla="*/ 236559 w 377653"/>
              <a:gd name="connsiteY79" fmla="*/ 446624 h 547704"/>
              <a:gd name="connsiteX80" fmla="*/ 229205 w 377653"/>
              <a:gd name="connsiteY80" fmla="*/ 453628 h 547704"/>
              <a:gd name="connsiteX81" fmla="*/ 211635 w 377653"/>
              <a:gd name="connsiteY81" fmla="*/ 453628 h 547704"/>
              <a:gd name="connsiteX82" fmla="*/ 209592 w 377653"/>
              <a:gd name="connsiteY82" fmla="*/ 453628 h 547704"/>
              <a:gd name="connsiteX83" fmla="*/ 183032 w 377653"/>
              <a:gd name="connsiteY83" fmla="*/ 453628 h 547704"/>
              <a:gd name="connsiteX84" fmla="*/ 181806 w 377653"/>
              <a:gd name="connsiteY84" fmla="*/ 453628 h 547704"/>
              <a:gd name="connsiteX85" fmla="*/ 164645 w 377653"/>
              <a:gd name="connsiteY85" fmla="*/ 453628 h 547704"/>
              <a:gd name="connsiteX86" fmla="*/ 163011 w 377653"/>
              <a:gd name="connsiteY86" fmla="*/ 453628 h 547704"/>
              <a:gd name="connsiteX87" fmla="*/ 136451 w 377653"/>
              <a:gd name="connsiteY87" fmla="*/ 453628 h 547704"/>
              <a:gd name="connsiteX88" fmla="*/ 134408 w 377653"/>
              <a:gd name="connsiteY88" fmla="*/ 453628 h 547704"/>
              <a:gd name="connsiteX89" fmla="*/ 117655 w 377653"/>
              <a:gd name="connsiteY89" fmla="*/ 453628 h 547704"/>
              <a:gd name="connsiteX90" fmla="*/ 116430 w 377653"/>
              <a:gd name="connsiteY90" fmla="*/ 453628 h 547704"/>
              <a:gd name="connsiteX91" fmla="*/ 89462 w 377653"/>
              <a:gd name="connsiteY91" fmla="*/ 453628 h 547704"/>
              <a:gd name="connsiteX92" fmla="*/ 87827 w 377653"/>
              <a:gd name="connsiteY92" fmla="*/ 453628 h 547704"/>
              <a:gd name="connsiteX93" fmla="*/ 77204 w 377653"/>
              <a:gd name="connsiteY93" fmla="*/ 453628 h 547704"/>
              <a:gd name="connsiteX94" fmla="*/ 63311 w 377653"/>
              <a:gd name="connsiteY94" fmla="*/ 439620 h 547704"/>
              <a:gd name="connsiteX95" fmla="*/ 63311 w 377653"/>
              <a:gd name="connsiteY95" fmla="*/ 303666 h 547704"/>
              <a:gd name="connsiteX96" fmla="*/ 70257 w 377653"/>
              <a:gd name="connsiteY96" fmla="*/ 296663 h 547704"/>
              <a:gd name="connsiteX97" fmla="*/ 70276 w 377653"/>
              <a:gd name="connsiteY97" fmla="*/ 247822 h 547704"/>
              <a:gd name="connsiteX98" fmla="*/ 164476 w 377653"/>
              <a:gd name="connsiteY98" fmla="*/ 247822 h 547704"/>
              <a:gd name="connsiteX99" fmla="*/ 171439 w 377653"/>
              <a:gd name="connsiteY99" fmla="*/ 255057 h 547704"/>
              <a:gd name="connsiteX100" fmla="*/ 164476 w 377653"/>
              <a:gd name="connsiteY100" fmla="*/ 261891 h 547704"/>
              <a:gd name="connsiteX101" fmla="*/ 70276 w 377653"/>
              <a:gd name="connsiteY101" fmla="*/ 261891 h 547704"/>
              <a:gd name="connsiteX102" fmla="*/ 63313 w 377653"/>
              <a:gd name="connsiteY102" fmla="*/ 255057 h 547704"/>
              <a:gd name="connsiteX103" fmla="*/ 70276 w 377653"/>
              <a:gd name="connsiteY103" fmla="*/ 247822 h 547704"/>
              <a:gd name="connsiteX104" fmla="*/ 70276 w 377653"/>
              <a:gd name="connsiteY104" fmla="*/ 200790 h 547704"/>
              <a:gd name="connsiteX105" fmla="*/ 164476 w 377653"/>
              <a:gd name="connsiteY105" fmla="*/ 200790 h 547704"/>
              <a:gd name="connsiteX106" fmla="*/ 171439 w 377653"/>
              <a:gd name="connsiteY106" fmla="*/ 207830 h 547704"/>
              <a:gd name="connsiteX107" fmla="*/ 164476 w 377653"/>
              <a:gd name="connsiteY107" fmla="*/ 214870 h 547704"/>
              <a:gd name="connsiteX108" fmla="*/ 70276 w 377653"/>
              <a:gd name="connsiteY108" fmla="*/ 214870 h 547704"/>
              <a:gd name="connsiteX109" fmla="*/ 63313 w 377653"/>
              <a:gd name="connsiteY109" fmla="*/ 207830 h 547704"/>
              <a:gd name="connsiteX110" fmla="*/ 70276 w 377653"/>
              <a:gd name="connsiteY110" fmla="*/ 200790 h 547704"/>
              <a:gd name="connsiteX111" fmla="*/ 70222 w 377653"/>
              <a:gd name="connsiteY111" fmla="*/ 153758 h 547704"/>
              <a:gd name="connsiteX112" fmla="*/ 147846 w 377653"/>
              <a:gd name="connsiteY112" fmla="*/ 153758 h 547704"/>
              <a:gd name="connsiteX113" fmla="*/ 155162 w 377653"/>
              <a:gd name="connsiteY113" fmla="*/ 160591 h 547704"/>
              <a:gd name="connsiteX114" fmla="*/ 147846 w 377653"/>
              <a:gd name="connsiteY114" fmla="*/ 167827 h 547704"/>
              <a:gd name="connsiteX115" fmla="*/ 70222 w 377653"/>
              <a:gd name="connsiteY115" fmla="*/ 167827 h 547704"/>
              <a:gd name="connsiteX116" fmla="*/ 63313 w 377653"/>
              <a:gd name="connsiteY116" fmla="*/ 160591 h 547704"/>
              <a:gd name="connsiteX117" fmla="*/ 70222 w 377653"/>
              <a:gd name="connsiteY117" fmla="*/ 153758 h 547704"/>
              <a:gd name="connsiteX118" fmla="*/ 285369 w 377653"/>
              <a:gd name="connsiteY118" fmla="*/ 145024 h 547704"/>
              <a:gd name="connsiteX119" fmla="*/ 285369 w 377653"/>
              <a:gd name="connsiteY119" fmla="*/ 195529 h 547704"/>
              <a:gd name="connsiteX120" fmla="*/ 280869 w 377653"/>
              <a:gd name="connsiteY120" fmla="*/ 206616 h 547704"/>
              <a:gd name="connsiteX121" fmla="*/ 247733 w 377653"/>
              <a:gd name="connsiteY121" fmla="*/ 239465 h 547704"/>
              <a:gd name="connsiteX122" fmla="*/ 278414 w 377653"/>
              <a:gd name="connsiteY122" fmla="*/ 249320 h 547704"/>
              <a:gd name="connsiteX123" fmla="*/ 330368 w 377653"/>
              <a:gd name="connsiteY123" fmla="*/ 196761 h 547704"/>
              <a:gd name="connsiteX124" fmla="*/ 285369 w 377653"/>
              <a:gd name="connsiteY124" fmla="*/ 145024 h 547704"/>
              <a:gd name="connsiteX125" fmla="*/ 247873 w 377653"/>
              <a:gd name="connsiteY125" fmla="*/ 132284 h 547704"/>
              <a:gd name="connsiteX126" fmla="*/ 202137 w 377653"/>
              <a:gd name="connsiteY126" fmla="*/ 184159 h 547704"/>
              <a:gd name="connsiteX127" fmla="*/ 214086 w 377653"/>
              <a:gd name="connsiteY127" fmla="*/ 216428 h 547704"/>
              <a:gd name="connsiteX128" fmla="*/ 247461 w 377653"/>
              <a:gd name="connsiteY128" fmla="*/ 183342 h 547704"/>
              <a:gd name="connsiteX129" fmla="*/ 247873 w 377653"/>
              <a:gd name="connsiteY129" fmla="*/ 182525 h 547704"/>
              <a:gd name="connsiteX130" fmla="*/ 278414 w 377653"/>
              <a:gd name="connsiteY130" fmla="*/ 130242 h 547704"/>
              <a:gd name="connsiteX131" fmla="*/ 345095 w 377653"/>
              <a:gd name="connsiteY131" fmla="*/ 196761 h 547704"/>
              <a:gd name="connsiteX132" fmla="*/ 278414 w 377653"/>
              <a:gd name="connsiteY132" fmla="*/ 263691 h 547704"/>
              <a:gd name="connsiteX133" fmla="*/ 234642 w 377653"/>
              <a:gd name="connsiteY133" fmla="*/ 246856 h 547704"/>
              <a:gd name="connsiteX134" fmla="*/ 233415 w 377653"/>
              <a:gd name="connsiteY134" fmla="*/ 245624 h 547704"/>
              <a:gd name="connsiteX135" fmla="*/ 232597 w 377653"/>
              <a:gd name="connsiteY135" fmla="*/ 245214 h 547704"/>
              <a:gd name="connsiteX136" fmla="*/ 232597 w 377653"/>
              <a:gd name="connsiteY136" fmla="*/ 234948 h 547704"/>
              <a:gd name="connsiteX137" fmla="*/ 271051 w 377653"/>
              <a:gd name="connsiteY137" fmla="*/ 196351 h 547704"/>
              <a:gd name="connsiteX138" fmla="*/ 271051 w 377653"/>
              <a:gd name="connsiteY138" fmla="*/ 195529 h 547704"/>
              <a:gd name="connsiteX139" fmla="*/ 271051 w 377653"/>
              <a:gd name="connsiteY139" fmla="*/ 137222 h 547704"/>
              <a:gd name="connsiteX140" fmla="*/ 278414 w 377653"/>
              <a:gd name="connsiteY140" fmla="*/ 130242 h 547704"/>
              <a:gd name="connsiteX141" fmla="*/ 246637 w 377653"/>
              <a:gd name="connsiteY141" fmla="*/ 117988 h 547704"/>
              <a:gd name="connsiteX142" fmla="*/ 257350 w 377653"/>
              <a:gd name="connsiteY142" fmla="*/ 121256 h 547704"/>
              <a:gd name="connsiteX143" fmla="*/ 261882 w 377653"/>
              <a:gd name="connsiteY143" fmla="*/ 131467 h 547704"/>
              <a:gd name="connsiteX144" fmla="*/ 261882 w 377653"/>
              <a:gd name="connsiteY144" fmla="*/ 182525 h 547704"/>
              <a:gd name="connsiteX145" fmla="*/ 257350 w 377653"/>
              <a:gd name="connsiteY145" fmla="*/ 193145 h 547704"/>
              <a:gd name="connsiteX146" fmla="*/ 223975 w 377653"/>
              <a:gd name="connsiteY146" fmla="*/ 227048 h 547704"/>
              <a:gd name="connsiteX147" fmla="*/ 213674 w 377653"/>
              <a:gd name="connsiteY147" fmla="*/ 231132 h 547704"/>
              <a:gd name="connsiteX148" fmla="*/ 212850 w 377653"/>
              <a:gd name="connsiteY148" fmla="*/ 230724 h 547704"/>
              <a:gd name="connsiteX149" fmla="*/ 203373 w 377653"/>
              <a:gd name="connsiteY149" fmla="*/ 225822 h 547704"/>
              <a:gd name="connsiteX150" fmla="*/ 188128 w 377653"/>
              <a:gd name="connsiteY150" fmla="*/ 184159 h 547704"/>
              <a:gd name="connsiteX151" fmla="*/ 246637 w 377653"/>
              <a:gd name="connsiteY151" fmla="*/ 117988 h 547704"/>
              <a:gd name="connsiteX152" fmla="*/ 274487 w 377653"/>
              <a:gd name="connsiteY152" fmla="*/ 34367 h 547704"/>
              <a:gd name="connsiteX153" fmla="*/ 274487 w 377653"/>
              <a:gd name="connsiteY153" fmla="*/ 56073 h 547704"/>
              <a:gd name="connsiteX154" fmla="*/ 308602 w 377653"/>
              <a:gd name="connsiteY154" fmla="*/ 90065 h 547704"/>
              <a:gd name="connsiteX155" fmla="*/ 348882 w 377653"/>
              <a:gd name="connsiteY155" fmla="*/ 90065 h 547704"/>
              <a:gd name="connsiteX156" fmla="*/ 51714 w 377653"/>
              <a:gd name="connsiteY156" fmla="*/ 26996 h 547704"/>
              <a:gd name="connsiteX157" fmla="*/ 45138 w 377653"/>
              <a:gd name="connsiteY157" fmla="*/ 33958 h 547704"/>
              <a:gd name="connsiteX158" fmla="*/ 45138 w 377653"/>
              <a:gd name="connsiteY158" fmla="*/ 389029 h 547704"/>
              <a:gd name="connsiteX159" fmla="*/ 45138 w 377653"/>
              <a:gd name="connsiteY159" fmla="*/ 493462 h 547704"/>
              <a:gd name="connsiteX160" fmla="*/ 51714 w 377653"/>
              <a:gd name="connsiteY160" fmla="*/ 500015 h 547704"/>
              <a:gd name="connsiteX161" fmla="*/ 356691 w 377653"/>
              <a:gd name="connsiteY161" fmla="*/ 500015 h 547704"/>
              <a:gd name="connsiteX162" fmla="*/ 363267 w 377653"/>
              <a:gd name="connsiteY162" fmla="*/ 493462 h 547704"/>
              <a:gd name="connsiteX163" fmla="*/ 363267 w 377653"/>
              <a:gd name="connsiteY163" fmla="*/ 452098 h 547704"/>
              <a:gd name="connsiteX164" fmla="*/ 363267 w 377653"/>
              <a:gd name="connsiteY164" fmla="*/ 104399 h 547704"/>
              <a:gd name="connsiteX165" fmla="*/ 308602 w 377653"/>
              <a:gd name="connsiteY165" fmla="*/ 104399 h 547704"/>
              <a:gd name="connsiteX166" fmla="*/ 260101 w 377653"/>
              <a:gd name="connsiteY166" fmla="*/ 56073 h 547704"/>
              <a:gd name="connsiteX167" fmla="*/ 260101 w 377653"/>
              <a:gd name="connsiteY167" fmla="*/ 26996 h 547704"/>
              <a:gd name="connsiteX168" fmla="*/ 51714 w 377653"/>
              <a:gd name="connsiteY168" fmla="*/ 12662 h 547704"/>
              <a:gd name="connsiteX169" fmla="*/ 266267 w 377653"/>
              <a:gd name="connsiteY169" fmla="*/ 12662 h 547704"/>
              <a:gd name="connsiteX170" fmla="*/ 266267 w 377653"/>
              <a:gd name="connsiteY170" fmla="*/ 13071 h 547704"/>
              <a:gd name="connsiteX171" fmla="*/ 271610 w 377653"/>
              <a:gd name="connsiteY171" fmla="*/ 14300 h 547704"/>
              <a:gd name="connsiteX172" fmla="*/ 374776 w 377653"/>
              <a:gd name="connsiteY172" fmla="*/ 91293 h 547704"/>
              <a:gd name="connsiteX173" fmla="*/ 377653 w 377653"/>
              <a:gd name="connsiteY173" fmla="*/ 97027 h 547704"/>
              <a:gd name="connsiteX174" fmla="*/ 377653 w 377653"/>
              <a:gd name="connsiteY174" fmla="*/ 452098 h 547704"/>
              <a:gd name="connsiteX175" fmla="*/ 377653 w 377653"/>
              <a:gd name="connsiteY175" fmla="*/ 493462 h 547704"/>
              <a:gd name="connsiteX176" fmla="*/ 377653 w 377653"/>
              <a:gd name="connsiteY176" fmla="*/ 524588 h 547704"/>
              <a:gd name="connsiteX177" fmla="*/ 356691 w 377653"/>
              <a:gd name="connsiteY177" fmla="*/ 545884 h 547704"/>
              <a:gd name="connsiteX178" fmla="*/ 51714 w 377653"/>
              <a:gd name="connsiteY178" fmla="*/ 545884 h 547704"/>
              <a:gd name="connsiteX179" fmla="*/ 30752 w 377653"/>
              <a:gd name="connsiteY179" fmla="*/ 524588 h 547704"/>
              <a:gd name="connsiteX180" fmla="*/ 30752 w 377653"/>
              <a:gd name="connsiteY180" fmla="*/ 493462 h 547704"/>
              <a:gd name="connsiteX181" fmla="*/ 30752 w 377653"/>
              <a:gd name="connsiteY181" fmla="*/ 389029 h 547704"/>
              <a:gd name="connsiteX182" fmla="*/ 30752 w 377653"/>
              <a:gd name="connsiteY182" fmla="*/ 33958 h 547704"/>
              <a:gd name="connsiteX183" fmla="*/ 51714 w 377653"/>
              <a:gd name="connsiteY183" fmla="*/ 12662 h 547704"/>
              <a:gd name="connsiteX184" fmla="*/ 345094 w 377653"/>
              <a:gd name="connsiteY184" fmla="*/ 0 h 547704"/>
              <a:gd name="connsiteX185" fmla="*/ 352494 w 377653"/>
              <a:gd name="connsiteY185" fmla="*/ 6989 h 547704"/>
              <a:gd name="connsiteX186" fmla="*/ 352494 w 377653"/>
              <a:gd name="connsiteY186" fmla="*/ 19733 h 547704"/>
              <a:gd name="connsiteX187" fmla="*/ 365238 w 377653"/>
              <a:gd name="connsiteY187" fmla="*/ 19733 h 547704"/>
              <a:gd name="connsiteX188" fmla="*/ 372227 w 377653"/>
              <a:gd name="connsiteY188" fmla="*/ 27133 h 547704"/>
              <a:gd name="connsiteX189" fmla="*/ 365238 w 377653"/>
              <a:gd name="connsiteY189" fmla="*/ 34122 h 547704"/>
              <a:gd name="connsiteX190" fmla="*/ 352494 w 377653"/>
              <a:gd name="connsiteY190" fmla="*/ 34122 h 547704"/>
              <a:gd name="connsiteX191" fmla="*/ 352494 w 377653"/>
              <a:gd name="connsiteY191" fmla="*/ 46867 h 547704"/>
              <a:gd name="connsiteX192" fmla="*/ 345094 w 377653"/>
              <a:gd name="connsiteY192" fmla="*/ 53856 h 547704"/>
              <a:gd name="connsiteX193" fmla="*/ 338105 w 377653"/>
              <a:gd name="connsiteY193" fmla="*/ 46867 h 547704"/>
              <a:gd name="connsiteX194" fmla="*/ 338105 w 377653"/>
              <a:gd name="connsiteY194" fmla="*/ 34122 h 547704"/>
              <a:gd name="connsiteX195" fmla="*/ 325360 w 377653"/>
              <a:gd name="connsiteY195" fmla="*/ 34122 h 547704"/>
              <a:gd name="connsiteX196" fmla="*/ 318371 w 377653"/>
              <a:gd name="connsiteY196" fmla="*/ 27133 h 547704"/>
              <a:gd name="connsiteX197" fmla="*/ 325360 w 377653"/>
              <a:gd name="connsiteY197" fmla="*/ 19733 h 547704"/>
              <a:gd name="connsiteX198" fmla="*/ 338105 w 377653"/>
              <a:gd name="connsiteY198" fmla="*/ 19733 h 547704"/>
              <a:gd name="connsiteX199" fmla="*/ 338105 w 377653"/>
              <a:gd name="connsiteY199" fmla="*/ 6989 h 547704"/>
              <a:gd name="connsiteX200" fmla="*/ 345094 w 377653"/>
              <a:gd name="connsiteY200" fmla="*/ 0 h 547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</a:cxnLst>
            <a:rect l="l" t="t" r="r" b="b"/>
            <a:pathLst>
              <a:path w="377653" h="547704">
                <a:moveTo>
                  <a:pt x="7029" y="524585"/>
                </a:moveTo>
                <a:cubicBezTo>
                  <a:pt x="11163" y="524585"/>
                  <a:pt x="14058" y="527375"/>
                  <a:pt x="14058" y="531361"/>
                </a:cubicBezTo>
                <a:lnTo>
                  <a:pt x="14058" y="540928"/>
                </a:lnTo>
                <a:cubicBezTo>
                  <a:pt x="14058" y="544515"/>
                  <a:pt x="11163" y="547704"/>
                  <a:pt x="7029" y="547704"/>
                </a:cubicBezTo>
                <a:cubicBezTo>
                  <a:pt x="3308" y="547704"/>
                  <a:pt x="0" y="544515"/>
                  <a:pt x="0" y="540928"/>
                </a:cubicBezTo>
                <a:lnTo>
                  <a:pt x="0" y="531361"/>
                </a:lnTo>
                <a:cubicBezTo>
                  <a:pt x="0" y="527375"/>
                  <a:pt x="3308" y="524585"/>
                  <a:pt x="7029" y="524585"/>
                </a:cubicBezTo>
                <a:close/>
                <a:moveTo>
                  <a:pt x="45138" y="513120"/>
                </a:moveTo>
                <a:lnTo>
                  <a:pt x="45138" y="524588"/>
                </a:lnTo>
                <a:cubicBezTo>
                  <a:pt x="45138" y="528683"/>
                  <a:pt x="48015" y="531550"/>
                  <a:pt x="51714" y="531550"/>
                </a:cubicBezTo>
                <a:lnTo>
                  <a:pt x="356691" y="531550"/>
                </a:lnTo>
                <a:cubicBezTo>
                  <a:pt x="359979" y="531550"/>
                  <a:pt x="363267" y="528683"/>
                  <a:pt x="363267" y="524588"/>
                </a:cubicBezTo>
                <a:lnTo>
                  <a:pt x="363267" y="513120"/>
                </a:lnTo>
                <a:cubicBezTo>
                  <a:pt x="361212" y="513530"/>
                  <a:pt x="359157" y="514349"/>
                  <a:pt x="356691" y="514349"/>
                </a:cubicBezTo>
                <a:lnTo>
                  <a:pt x="51714" y="514349"/>
                </a:lnTo>
                <a:cubicBezTo>
                  <a:pt x="49659" y="514349"/>
                  <a:pt x="47193" y="513530"/>
                  <a:pt x="45138" y="513120"/>
                </a:cubicBezTo>
                <a:close/>
                <a:moveTo>
                  <a:pt x="7029" y="454039"/>
                </a:moveTo>
                <a:cubicBezTo>
                  <a:pt x="11163" y="454039"/>
                  <a:pt x="14058" y="457297"/>
                  <a:pt x="14058" y="460963"/>
                </a:cubicBezTo>
                <a:lnTo>
                  <a:pt x="14058" y="508210"/>
                </a:lnTo>
                <a:cubicBezTo>
                  <a:pt x="14058" y="511876"/>
                  <a:pt x="11163" y="515134"/>
                  <a:pt x="7029" y="515134"/>
                </a:cubicBezTo>
                <a:cubicBezTo>
                  <a:pt x="3308" y="515134"/>
                  <a:pt x="0" y="511876"/>
                  <a:pt x="0" y="508210"/>
                </a:cubicBezTo>
                <a:lnTo>
                  <a:pt x="0" y="460963"/>
                </a:lnTo>
                <a:cubicBezTo>
                  <a:pt x="0" y="457297"/>
                  <a:pt x="3308" y="454039"/>
                  <a:pt x="7029" y="454039"/>
                </a:cubicBezTo>
                <a:close/>
                <a:moveTo>
                  <a:pt x="256626" y="437758"/>
                </a:moveTo>
                <a:lnTo>
                  <a:pt x="337685" y="437758"/>
                </a:lnTo>
                <a:cubicBezTo>
                  <a:pt x="341800" y="437758"/>
                  <a:pt x="345092" y="440572"/>
                  <a:pt x="345092" y="444591"/>
                </a:cubicBezTo>
                <a:cubicBezTo>
                  <a:pt x="345092" y="448611"/>
                  <a:pt x="341800" y="451827"/>
                  <a:pt x="337685" y="451827"/>
                </a:cubicBezTo>
                <a:lnTo>
                  <a:pt x="256626" y="451827"/>
                </a:lnTo>
                <a:cubicBezTo>
                  <a:pt x="252923" y="451827"/>
                  <a:pt x="249631" y="448611"/>
                  <a:pt x="249631" y="444591"/>
                </a:cubicBezTo>
                <a:cubicBezTo>
                  <a:pt x="249631" y="440572"/>
                  <a:pt x="252923" y="437758"/>
                  <a:pt x="256626" y="437758"/>
                </a:cubicBezTo>
                <a:close/>
                <a:moveTo>
                  <a:pt x="256626" y="390726"/>
                </a:moveTo>
                <a:lnTo>
                  <a:pt x="337685" y="390726"/>
                </a:lnTo>
                <a:cubicBezTo>
                  <a:pt x="341800" y="390726"/>
                  <a:pt x="345092" y="393942"/>
                  <a:pt x="345092" y="397961"/>
                </a:cubicBezTo>
                <a:cubicBezTo>
                  <a:pt x="345092" y="401579"/>
                  <a:pt x="341800" y="404795"/>
                  <a:pt x="337685" y="404795"/>
                </a:cubicBezTo>
                <a:lnTo>
                  <a:pt x="256626" y="404795"/>
                </a:lnTo>
                <a:cubicBezTo>
                  <a:pt x="252923" y="404795"/>
                  <a:pt x="249631" y="401579"/>
                  <a:pt x="249631" y="397961"/>
                </a:cubicBezTo>
                <a:cubicBezTo>
                  <a:pt x="249631" y="393942"/>
                  <a:pt x="252923" y="390726"/>
                  <a:pt x="256626" y="390726"/>
                </a:cubicBezTo>
                <a:close/>
                <a:moveTo>
                  <a:pt x="189570" y="390183"/>
                </a:moveTo>
                <a:lnTo>
                  <a:pt x="189570" y="439620"/>
                </a:lnTo>
                <a:lnTo>
                  <a:pt x="203462" y="439208"/>
                </a:lnTo>
                <a:lnTo>
                  <a:pt x="203462" y="390183"/>
                </a:lnTo>
                <a:close/>
                <a:moveTo>
                  <a:pt x="95591" y="358460"/>
                </a:moveTo>
                <a:lnTo>
                  <a:pt x="95591" y="439620"/>
                </a:lnTo>
                <a:lnTo>
                  <a:pt x="109892" y="439620"/>
                </a:lnTo>
                <a:lnTo>
                  <a:pt x="109892" y="358460"/>
                </a:lnTo>
                <a:close/>
                <a:moveTo>
                  <a:pt x="256575" y="343694"/>
                </a:moveTo>
                <a:lnTo>
                  <a:pt x="305591" y="343694"/>
                </a:lnTo>
                <a:cubicBezTo>
                  <a:pt x="309675" y="343694"/>
                  <a:pt x="312535" y="346910"/>
                  <a:pt x="312535" y="350929"/>
                </a:cubicBezTo>
                <a:cubicBezTo>
                  <a:pt x="312535" y="354547"/>
                  <a:pt x="309675" y="357763"/>
                  <a:pt x="305591" y="357763"/>
                </a:cubicBezTo>
                <a:lnTo>
                  <a:pt x="256575" y="357763"/>
                </a:lnTo>
                <a:cubicBezTo>
                  <a:pt x="252899" y="357763"/>
                  <a:pt x="249631" y="354547"/>
                  <a:pt x="249631" y="350929"/>
                </a:cubicBezTo>
                <a:cubicBezTo>
                  <a:pt x="249631" y="346910"/>
                  <a:pt x="252899" y="343694"/>
                  <a:pt x="256575" y="343694"/>
                </a:cubicBezTo>
                <a:close/>
                <a:moveTo>
                  <a:pt x="142989" y="326737"/>
                </a:moveTo>
                <a:lnTo>
                  <a:pt x="142989" y="439620"/>
                </a:lnTo>
                <a:lnTo>
                  <a:pt x="156473" y="439620"/>
                </a:lnTo>
                <a:lnTo>
                  <a:pt x="156473" y="327149"/>
                </a:lnTo>
                <a:close/>
                <a:moveTo>
                  <a:pt x="70257" y="296663"/>
                </a:moveTo>
                <a:cubicBezTo>
                  <a:pt x="73935" y="296663"/>
                  <a:pt x="77204" y="299959"/>
                  <a:pt x="77204" y="303666"/>
                </a:cubicBezTo>
                <a:lnTo>
                  <a:pt x="77204" y="439620"/>
                </a:lnTo>
                <a:lnTo>
                  <a:pt x="81698" y="439620"/>
                </a:lnTo>
                <a:lnTo>
                  <a:pt x="81698" y="355988"/>
                </a:lnTo>
                <a:cubicBezTo>
                  <a:pt x="81698" y="349396"/>
                  <a:pt x="87010" y="344041"/>
                  <a:pt x="93548" y="344041"/>
                </a:cubicBezTo>
                <a:lnTo>
                  <a:pt x="112344" y="344041"/>
                </a:lnTo>
                <a:cubicBezTo>
                  <a:pt x="118881" y="344041"/>
                  <a:pt x="123785" y="349396"/>
                  <a:pt x="123785" y="355988"/>
                </a:cubicBezTo>
                <a:lnTo>
                  <a:pt x="123785" y="439620"/>
                </a:lnTo>
                <a:lnTo>
                  <a:pt x="128279" y="439620"/>
                </a:lnTo>
                <a:lnTo>
                  <a:pt x="128279" y="324266"/>
                </a:lnTo>
                <a:cubicBezTo>
                  <a:pt x="128279" y="321382"/>
                  <a:pt x="129505" y="318086"/>
                  <a:pt x="131957" y="316026"/>
                </a:cubicBezTo>
                <a:cubicBezTo>
                  <a:pt x="134000" y="313966"/>
                  <a:pt x="137269" y="312730"/>
                  <a:pt x="140129" y="312730"/>
                </a:cubicBezTo>
                <a:lnTo>
                  <a:pt x="159333" y="312730"/>
                </a:lnTo>
                <a:cubicBezTo>
                  <a:pt x="165462" y="312730"/>
                  <a:pt x="170774" y="317674"/>
                  <a:pt x="170774" y="324266"/>
                </a:cubicBezTo>
                <a:lnTo>
                  <a:pt x="170774" y="439620"/>
                </a:lnTo>
                <a:lnTo>
                  <a:pt x="175269" y="439620"/>
                </a:lnTo>
                <a:lnTo>
                  <a:pt x="175269" y="387711"/>
                </a:lnTo>
                <a:cubicBezTo>
                  <a:pt x="175269" y="381119"/>
                  <a:pt x="180581" y="375763"/>
                  <a:pt x="187118" y="375763"/>
                </a:cubicBezTo>
                <a:lnTo>
                  <a:pt x="206323" y="375763"/>
                </a:lnTo>
                <a:cubicBezTo>
                  <a:pt x="212452" y="375763"/>
                  <a:pt x="217764" y="381119"/>
                  <a:pt x="217764" y="387711"/>
                </a:cubicBezTo>
                <a:lnTo>
                  <a:pt x="217764" y="439208"/>
                </a:lnTo>
                <a:lnTo>
                  <a:pt x="229205" y="439208"/>
                </a:lnTo>
                <a:cubicBezTo>
                  <a:pt x="233291" y="439208"/>
                  <a:pt x="236559" y="442504"/>
                  <a:pt x="236559" y="446624"/>
                </a:cubicBezTo>
                <a:cubicBezTo>
                  <a:pt x="236559" y="450332"/>
                  <a:pt x="233291" y="453628"/>
                  <a:pt x="229205" y="453628"/>
                </a:cubicBezTo>
                <a:lnTo>
                  <a:pt x="211635" y="453628"/>
                </a:lnTo>
                <a:cubicBezTo>
                  <a:pt x="210817" y="453628"/>
                  <a:pt x="210409" y="453628"/>
                  <a:pt x="209592" y="453628"/>
                </a:cubicBezTo>
                <a:lnTo>
                  <a:pt x="183032" y="453628"/>
                </a:lnTo>
                <a:cubicBezTo>
                  <a:pt x="182624" y="453628"/>
                  <a:pt x="181806" y="453628"/>
                  <a:pt x="181806" y="453628"/>
                </a:cubicBezTo>
                <a:lnTo>
                  <a:pt x="164645" y="453628"/>
                </a:lnTo>
                <a:cubicBezTo>
                  <a:pt x="164236" y="453628"/>
                  <a:pt x="163419" y="453628"/>
                  <a:pt x="163011" y="453628"/>
                </a:cubicBezTo>
                <a:lnTo>
                  <a:pt x="136451" y="453628"/>
                </a:lnTo>
                <a:cubicBezTo>
                  <a:pt x="136043" y="453628"/>
                  <a:pt x="135225" y="453628"/>
                  <a:pt x="134408" y="453628"/>
                </a:cubicBezTo>
                <a:lnTo>
                  <a:pt x="117655" y="453628"/>
                </a:lnTo>
                <a:cubicBezTo>
                  <a:pt x="117247" y="453628"/>
                  <a:pt x="116838" y="453628"/>
                  <a:pt x="116430" y="453628"/>
                </a:cubicBezTo>
                <a:lnTo>
                  <a:pt x="89462" y="453628"/>
                </a:lnTo>
                <a:cubicBezTo>
                  <a:pt x="88645" y="453628"/>
                  <a:pt x="88645" y="453628"/>
                  <a:pt x="87827" y="453628"/>
                </a:cubicBezTo>
                <a:lnTo>
                  <a:pt x="77204" y="453628"/>
                </a:lnTo>
                <a:cubicBezTo>
                  <a:pt x="69032" y="453628"/>
                  <a:pt x="63311" y="447448"/>
                  <a:pt x="63311" y="439620"/>
                </a:cubicBezTo>
                <a:lnTo>
                  <a:pt x="63311" y="303666"/>
                </a:lnTo>
                <a:cubicBezTo>
                  <a:pt x="63311" y="299959"/>
                  <a:pt x="66171" y="296663"/>
                  <a:pt x="70257" y="296663"/>
                </a:cubicBezTo>
                <a:close/>
                <a:moveTo>
                  <a:pt x="70276" y="247822"/>
                </a:moveTo>
                <a:lnTo>
                  <a:pt x="164476" y="247822"/>
                </a:lnTo>
                <a:cubicBezTo>
                  <a:pt x="168162" y="247822"/>
                  <a:pt x="171439" y="250636"/>
                  <a:pt x="171439" y="255057"/>
                </a:cubicBezTo>
                <a:cubicBezTo>
                  <a:pt x="171439" y="258675"/>
                  <a:pt x="168162" y="261891"/>
                  <a:pt x="164476" y="261891"/>
                </a:cubicBezTo>
                <a:lnTo>
                  <a:pt x="70276" y="261891"/>
                </a:lnTo>
                <a:cubicBezTo>
                  <a:pt x="66180" y="261891"/>
                  <a:pt x="63313" y="258675"/>
                  <a:pt x="63313" y="255057"/>
                </a:cubicBezTo>
                <a:cubicBezTo>
                  <a:pt x="63313" y="250636"/>
                  <a:pt x="66180" y="247822"/>
                  <a:pt x="70276" y="247822"/>
                </a:cubicBezTo>
                <a:close/>
                <a:moveTo>
                  <a:pt x="70276" y="200790"/>
                </a:moveTo>
                <a:lnTo>
                  <a:pt x="164476" y="200790"/>
                </a:lnTo>
                <a:cubicBezTo>
                  <a:pt x="168162" y="200790"/>
                  <a:pt x="171439" y="204310"/>
                  <a:pt x="171439" y="207830"/>
                </a:cubicBezTo>
                <a:cubicBezTo>
                  <a:pt x="171439" y="211741"/>
                  <a:pt x="168162" y="214870"/>
                  <a:pt x="164476" y="214870"/>
                </a:cubicBezTo>
                <a:lnTo>
                  <a:pt x="70276" y="214870"/>
                </a:lnTo>
                <a:cubicBezTo>
                  <a:pt x="66180" y="214870"/>
                  <a:pt x="63313" y="211741"/>
                  <a:pt x="63313" y="207830"/>
                </a:cubicBezTo>
                <a:cubicBezTo>
                  <a:pt x="63313" y="204310"/>
                  <a:pt x="66180" y="200790"/>
                  <a:pt x="70276" y="200790"/>
                </a:cubicBezTo>
                <a:close/>
                <a:moveTo>
                  <a:pt x="70222" y="153758"/>
                </a:moveTo>
                <a:lnTo>
                  <a:pt x="147846" y="153758"/>
                </a:lnTo>
                <a:cubicBezTo>
                  <a:pt x="152317" y="153758"/>
                  <a:pt x="155162" y="156572"/>
                  <a:pt x="155162" y="160591"/>
                </a:cubicBezTo>
                <a:cubicBezTo>
                  <a:pt x="155162" y="164209"/>
                  <a:pt x="152317" y="167827"/>
                  <a:pt x="147846" y="167827"/>
                </a:cubicBezTo>
                <a:lnTo>
                  <a:pt x="70222" y="167827"/>
                </a:lnTo>
                <a:cubicBezTo>
                  <a:pt x="66158" y="167827"/>
                  <a:pt x="63313" y="164209"/>
                  <a:pt x="63313" y="160591"/>
                </a:cubicBezTo>
                <a:cubicBezTo>
                  <a:pt x="63313" y="156572"/>
                  <a:pt x="66158" y="153758"/>
                  <a:pt x="70222" y="153758"/>
                </a:cubicBezTo>
                <a:close/>
                <a:moveTo>
                  <a:pt x="285369" y="145024"/>
                </a:moveTo>
                <a:lnTo>
                  <a:pt x="285369" y="195529"/>
                </a:lnTo>
                <a:cubicBezTo>
                  <a:pt x="285369" y="199635"/>
                  <a:pt x="283732" y="203331"/>
                  <a:pt x="280869" y="206616"/>
                </a:cubicBezTo>
                <a:lnTo>
                  <a:pt x="247733" y="239465"/>
                </a:lnTo>
                <a:cubicBezTo>
                  <a:pt x="256733" y="246035"/>
                  <a:pt x="267778" y="249320"/>
                  <a:pt x="278414" y="249320"/>
                </a:cubicBezTo>
                <a:cubicBezTo>
                  <a:pt x="307050" y="249320"/>
                  <a:pt x="330368" y="225915"/>
                  <a:pt x="330368" y="196761"/>
                </a:cubicBezTo>
                <a:cubicBezTo>
                  <a:pt x="330368" y="170482"/>
                  <a:pt x="311141" y="148309"/>
                  <a:pt x="285369" y="145024"/>
                </a:cubicBezTo>
                <a:close/>
                <a:moveTo>
                  <a:pt x="247873" y="132284"/>
                </a:moveTo>
                <a:cubicBezTo>
                  <a:pt x="221915" y="135552"/>
                  <a:pt x="202137" y="157609"/>
                  <a:pt x="202137" y="184159"/>
                </a:cubicBezTo>
                <a:cubicBezTo>
                  <a:pt x="202137" y="195596"/>
                  <a:pt x="206258" y="207033"/>
                  <a:pt x="214086" y="216428"/>
                </a:cubicBezTo>
                <a:lnTo>
                  <a:pt x="247461" y="183342"/>
                </a:lnTo>
                <a:cubicBezTo>
                  <a:pt x="247461" y="182934"/>
                  <a:pt x="247873" y="182934"/>
                  <a:pt x="247873" y="182525"/>
                </a:cubicBezTo>
                <a:close/>
                <a:moveTo>
                  <a:pt x="278414" y="130242"/>
                </a:moveTo>
                <a:cubicBezTo>
                  <a:pt x="315232" y="130242"/>
                  <a:pt x="345095" y="160217"/>
                  <a:pt x="345095" y="196761"/>
                </a:cubicBezTo>
                <a:cubicBezTo>
                  <a:pt x="345095" y="233716"/>
                  <a:pt x="315232" y="263691"/>
                  <a:pt x="278414" y="263691"/>
                </a:cubicBezTo>
                <a:cubicBezTo>
                  <a:pt x="262051" y="263691"/>
                  <a:pt x="246506" y="257943"/>
                  <a:pt x="234642" y="246856"/>
                </a:cubicBezTo>
                <a:cubicBezTo>
                  <a:pt x="233824" y="246856"/>
                  <a:pt x="233824" y="246445"/>
                  <a:pt x="233415" y="245624"/>
                </a:cubicBezTo>
                <a:cubicBezTo>
                  <a:pt x="233006" y="245214"/>
                  <a:pt x="232597" y="245214"/>
                  <a:pt x="232597" y="245214"/>
                </a:cubicBezTo>
                <a:cubicBezTo>
                  <a:pt x="229733" y="242339"/>
                  <a:pt x="229733" y="237822"/>
                  <a:pt x="232597" y="234948"/>
                </a:cubicBezTo>
                <a:lnTo>
                  <a:pt x="271051" y="196351"/>
                </a:lnTo>
                <a:cubicBezTo>
                  <a:pt x="271051" y="195940"/>
                  <a:pt x="271051" y="195940"/>
                  <a:pt x="271051" y="195529"/>
                </a:cubicBezTo>
                <a:lnTo>
                  <a:pt x="271051" y="137222"/>
                </a:lnTo>
                <a:cubicBezTo>
                  <a:pt x="271051" y="133116"/>
                  <a:pt x="274732" y="130242"/>
                  <a:pt x="278414" y="130242"/>
                </a:cubicBezTo>
                <a:close/>
                <a:moveTo>
                  <a:pt x="246637" y="117988"/>
                </a:moveTo>
                <a:cubicBezTo>
                  <a:pt x="250345" y="117580"/>
                  <a:pt x="254053" y="118805"/>
                  <a:pt x="257350" y="121256"/>
                </a:cubicBezTo>
                <a:cubicBezTo>
                  <a:pt x="260234" y="124115"/>
                  <a:pt x="261882" y="127791"/>
                  <a:pt x="261882" y="131467"/>
                </a:cubicBezTo>
                <a:lnTo>
                  <a:pt x="261882" y="182525"/>
                </a:lnTo>
                <a:cubicBezTo>
                  <a:pt x="261882" y="186610"/>
                  <a:pt x="260234" y="190695"/>
                  <a:pt x="257350" y="193145"/>
                </a:cubicBezTo>
                <a:lnTo>
                  <a:pt x="223975" y="227048"/>
                </a:lnTo>
                <a:cubicBezTo>
                  <a:pt x="221091" y="229498"/>
                  <a:pt x="217382" y="231132"/>
                  <a:pt x="213674" y="231132"/>
                </a:cubicBezTo>
                <a:cubicBezTo>
                  <a:pt x="213674" y="231132"/>
                  <a:pt x="213262" y="231132"/>
                  <a:pt x="212850" y="230724"/>
                </a:cubicBezTo>
                <a:cubicBezTo>
                  <a:pt x="209142" y="230724"/>
                  <a:pt x="205845" y="229090"/>
                  <a:pt x="203373" y="225822"/>
                </a:cubicBezTo>
                <a:cubicBezTo>
                  <a:pt x="193484" y="214385"/>
                  <a:pt x="188128" y="199272"/>
                  <a:pt x="188128" y="184159"/>
                </a:cubicBezTo>
                <a:cubicBezTo>
                  <a:pt x="188128" y="150257"/>
                  <a:pt x="212850" y="122481"/>
                  <a:pt x="246637" y="117988"/>
                </a:cubicBezTo>
                <a:close/>
                <a:moveTo>
                  <a:pt x="274487" y="34367"/>
                </a:moveTo>
                <a:lnTo>
                  <a:pt x="274487" y="56073"/>
                </a:lnTo>
                <a:cubicBezTo>
                  <a:pt x="274487" y="74502"/>
                  <a:pt x="289695" y="90065"/>
                  <a:pt x="308602" y="90065"/>
                </a:cubicBezTo>
                <a:lnTo>
                  <a:pt x="348882" y="90065"/>
                </a:lnTo>
                <a:close/>
                <a:moveTo>
                  <a:pt x="51714" y="26996"/>
                </a:moveTo>
                <a:cubicBezTo>
                  <a:pt x="48015" y="26996"/>
                  <a:pt x="45138" y="29862"/>
                  <a:pt x="45138" y="33958"/>
                </a:cubicBezTo>
                <a:lnTo>
                  <a:pt x="45138" y="389029"/>
                </a:lnTo>
                <a:lnTo>
                  <a:pt x="45138" y="493462"/>
                </a:lnTo>
                <a:cubicBezTo>
                  <a:pt x="45138" y="497148"/>
                  <a:pt x="48015" y="500015"/>
                  <a:pt x="51714" y="500015"/>
                </a:cubicBezTo>
                <a:lnTo>
                  <a:pt x="356691" y="500015"/>
                </a:lnTo>
                <a:cubicBezTo>
                  <a:pt x="359979" y="500015"/>
                  <a:pt x="363267" y="497148"/>
                  <a:pt x="363267" y="493462"/>
                </a:cubicBezTo>
                <a:lnTo>
                  <a:pt x="363267" y="452098"/>
                </a:lnTo>
                <a:lnTo>
                  <a:pt x="363267" y="104399"/>
                </a:lnTo>
                <a:lnTo>
                  <a:pt x="308602" y="104399"/>
                </a:lnTo>
                <a:cubicBezTo>
                  <a:pt x="281885" y="104399"/>
                  <a:pt x="260101" y="82284"/>
                  <a:pt x="260101" y="56073"/>
                </a:cubicBezTo>
                <a:lnTo>
                  <a:pt x="260101" y="26996"/>
                </a:lnTo>
                <a:close/>
                <a:moveTo>
                  <a:pt x="51714" y="12662"/>
                </a:moveTo>
                <a:lnTo>
                  <a:pt x="266267" y="12662"/>
                </a:lnTo>
                <a:lnTo>
                  <a:pt x="266267" y="13071"/>
                </a:lnTo>
                <a:cubicBezTo>
                  <a:pt x="267911" y="12662"/>
                  <a:pt x="269966" y="13071"/>
                  <a:pt x="271610" y="14300"/>
                </a:cubicBezTo>
                <a:lnTo>
                  <a:pt x="374776" y="91293"/>
                </a:lnTo>
                <a:cubicBezTo>
                  <a:pt x="376420" y="92932"/>
                  <a:pt x="377653" y="94979"/>
                  <a:pt x="377653" y="97027"/>
                </a:cubicBezTo>
                <a:lnTo>
                  <a:pt x="377653" y="452098"/>
                </a:lnTo>
                <a:lnTo>
                  <a:pt x="377653" y="493462"/>
                </a:lnTo>
                <a:lnTo>
                  <a:pt x="377653" y="524588"/>
                </a:lnTo>
                <a:cubicBezTo>
                  <a:pt x="377653" y="536464"/>
                  <a:pt x="368200" y="545884"/>
                  <a:pt x="356691" y="545884"/>
                </a:cubicBezTo>
                <a:lnTo>
                  <a:pt x="51714" y="545884"/>
                </a:lnTo>
                <a:cubicBezTo>
                  <a:pt x="40206" y="545884"/>
                  <a:pt x="30752" y="536464"/>
                  <a:pt x="30752" y="524588"/>
                </a:cubicBezTo>
                <a:lnTo>
                  <a:pt x="30752" y="493462"/>
                </a:lnTo>
                <a:lnTo>
                  <a:pt x="30752" y="389029"/>
                </a:lnTo>
                <a:lnTo>
                  <a:pt x="30752" y="33958"/>
                </a:lnTo>
                <a:cubicBezTo>
                  <a:pt x="30752" y="22081"/>
                  <a:pt x="40206" y="12662"/>
                  <a:pt x="51714" y="12662"/>
                </a:cubicBezTo>
                <a:close/>
                <a:moveTo>
                  <a:pt x="345094" y="0"/>
                </a:moveTo>
                <a:cubicBezTo>
                  <a:pt x="349205" y="0"/>
                  <a:pt x="352494" y="3289"/>
                  <a:pt x="352494" y="6989"/>
                </a:cubicBezTo>
                <a:lnTo>
                  <a:pt x="352494" y="19733"/>
                </a:lnTo>
                <a:lnTo>
                  <a:pt x="365238" y="19733"/>
                </a:lnTo>
                <a:cubicBezTo>
                  <a:pt x="368938" y="19733"/>
                  <a:pt x="372227" y="23433"/>
                  <a:pt x="372227" y="27133"/>
                </a:cubicBezTo>
                <a:cubicBezTo>
                  <a:pt x="372227" y="30833"/>
                  <a:pt x="368938" y="34122"/>
                  <a:pt x="365238" y="34122"/>
                </a:cubicBezTo>
                <a:lnTo>
                  <a:pt x="352494" y="34122"/>
                </a:lnTo>
                <a:lnTo>
                  <a:pt x="352494" y="46867"/>
                </a:lnTo>
                <a:cubicBezTo>
                  <a:pt x="352494" y="50978"/>
                  <a:pt x="349205" y="53856"/>
                  <a:pt x="345094" y="53856"/>
                </a:cubicBezTo>
                <a:cubicBezTo>
                  <a:pt x="341393" y="53856"/>
                  <a:pt x="338105" y="50978"/>
                  <a:pt x="338105" y="46867"/>
                </a:cubicBezTo>
                <a:lnTo>
                  <a:pt x="338105" y="34122"/>
                </a:lnTo>
                <a:lnTo>
                  <a:pt x="325360" y="34122"/>
                </a:lnTo>
                <a:cubicBezTo>
                  <a:pt x="321660" y="34122"/>
                  <a:pt x="318371" y="30833"/>
                  <a:pt x="318371" y="27133"/>
                </a:cubicBezTo>
                <a:cubicBezTo>
                  <a:pt x="318371" y="23433"/>
                  <a:pt x="321660" y="19733"/>
                  <a:pt x="325360" y="19733"/>
                </a:cubicBezTo>
                <a:lnTo>
                  <a:pt x="338105" y="19733"/>
                </a:lnTo>
                <a:lnTo>
                  <a:pt x="338105" y="6989"/>
                </a:lnTo>
                <a:cubicBezTo>
                  <a:pt x="338105" y="3289"/>
                  <a:pt x="341393" y="0"/>
                  <a:pt x="345094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7" name="Freeform 4">
            <a:extLst>
              <a:ext uri="{FF2B5EF4-FFF2-40B4-BE49-F238E27FC236}">
                <a16:creationId xmlns:a16="http://schemas.microsoft.com/office/drawing/2014/main" id="{D1F069E2-5DA7-4600-85A2-489EAB2FD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88" y="5905504"/>
            <a:ext cx="648236" cy="639643"/>
          </a:xfrm>
          <a:custGeom>
            <a:avLst/>
            <a:gdLst>
              <a:gd name="connsiteX0" fmla="*/ 235485 w 545883"/>
              <a:gd name="connsiteY0" fmla="*/ 393071 h 538647"/>
              <a:gd name="connsiteX1" fmla="*/ 216729 w 545883"/>
              <a:gd name="connsiteY1" fmla="*/ 412230 h 538647"/>
              <a:gd name="connsiteX2" fmla="*/ 228146 w 545883"/>
              <a:gd name="connsiteY2" fmla="*/ 412230 h 538647"/>
              <a:gd name="connsiteX3" fmla="*/ 235485 w 545883"/>
              <a:gd name="connsiteY3" fmla="*/ 404893 h 538647"/>
              <a:gd name="connsiteX4" fmla="*/ 442901 w 545883"/>
              <a:gd name="connsiteY4" fmla="*/ 392534 h 538647"/>
              <a:gd name="connsiteX5" fmla="*/ 449853 w 545883"/>
              <a:gd name="connsiteY5" fmla="*/ 399828 h 538647"/>
              <a:gd name="connsiteX6" fmla="*/ 449853 w 545883"/>
              <a:gd name="connsiteY6" fmla="*/ 428597 h 538647"/>
              <a:gd name="connsiteX7" fmla="*/ 475619 w 545883"/>
              <a:gd name="connsiteY7" fmla="*/ 428597 h 538647"/>
              <a:gd name="connsiteX8" fmla="*/ 482571 w 545883"/>
              <a:gd name="connsiteY8" fmla="*/ 435485 h 538647"/>
              <a:gd name="connsiteX9" fmla="*/ 475619 w 545883"/>
              <a:gd name="connsiteY9" fmla="*/ 442779 h 538647"/>
              <a:gd name="connsiteX10" fmla="*/ 442901 w 545883"/>
              <a:gd name="connsiteY10" fmla="*/ 442779 h 538647"/>
              <a:gd name="connsiteX11" fmla="*/ 435948 w 545883"/>
              <a:gd name="connsiteY11" fmla="*/ 435485 h 538647"/>
              <a:gd name="connsiteX12" fmla="*/ 435948 w 545883"/>
              <a:gd name="connsiteY12" fmla="*/ 399828 h 538647"/>
              <a:gd name="connsiteX13" fmla="*/ 442901 w 545883"/>
              <a:gd name="connsiteY13" fmla="*/ 392534 h 538647"/>
              <a:gd name="connsiteX14" fmla="*/ 444089 w 545883"/>
              <a:gd name="connsiteY14" fmla="*/ 385180 h 538647"/>
              <a:gd name="connsiteX15" fmla="*/ 392416 w 545883"/>
              <a:gd name="connsiteY15" fmla="*/ 436443 h 538647"/>
              <a:gd name="connsiteX16" fmla="*/ 444089 w 545883"/>
              <a:gd name="connsiteY16" fmla="*/ 488115 h 538647"/>
              <a:gd name="connsiteX17" fmla="*/ 495351 w 545883"/>
              <a:gd name="connsiteY17" fmla="*/ 436443 h 538647"/>
              <a:gd name="connsiteX18" fmla="*/ 444089 w 545883"/>
              <a:gd name="connsiteY18" fmla="*/ 385180 h 538647"/>
              <a:gd name="connsiteX19" fmla="*/ 444089 w 545883"/>
              <a:gd name="connsiteY19" fmla="*/ 370827 h 538647"/>
              <a:gd name="connsiteX20" fmla="*/ 509704 w 545883"/>
              <a:gd name="connsiteY20" fmla="*/ 436443 h 538647"/>
              <a:gd name="connsiteX21" fmla="*/ 444089 w 545883"/>
              <a:gd name="connsiteY21" fmla="*/ 502468 h 538647"/>
              <a:gd name="connsiteX22" fmla="*/ 378063 w 545883"/>
              <a:gd name="connsiteY22" fmla="*/ 436443 h 538647"/>
              <a:gd name="connsiteX23" fmla="*/ 444089 w 545883"/>
              <a:gd name="connsiteY23" fmla="*/ 370827 h 538647"/>
              <a:gd name="connsiteX24" fmla="*/ 231000 w 545883"/>
              <a:gd name="connsiteY24" fmla="*/ 359236 h 538647"/>
              <a:gd name="connsiteX25" fmla="*/ 228961 w 545883"/>
              <a:gd name="connsiteY25" fmla="*/ 360459 h 538647"/>
              <a:gd name="connsiteX26" fmla="*/ 204904 w 545883"/>
              <a:gd name="connsiteY26" fmla="*/ 384918 h 538647"/>
              <a:gd name="connsiteX27" fmla="*/ 196749 w 545883"/>
              <a:gd name="connsiteY27" fmla="*/ 388179 h 538647"/>
              <a:gd name="connsiteX28" fmla="*/ 188594 w 545883"/>
              <a:gd name="connsiteY28" fmla="*/ 384918 h 538647"/>
              <a:gd name="connsiteX29" fmla="*/ 182886 w 545883"/>
              <a:gd name="connsiteY29" fmla="*/ 379210 h 538647"/>
              <a:gd name="connsiteX30" fmla="*/ 180439 w 545883"/>
              <a:gd name="connsiteY30" fmla="*/ 377988 h 538647"/>
              <a:gd name="connsiteX31" fmla="*/ 179216 w 545883"/>
              <a:gd name="connsiteY31" fmla="*/ 377580 h 538647"/>
              <a:gd name="connsiteX32" fmla="*/ 177993 w 545883"/>
              <a:gd name="connsiteY32" fmla="*/ 377580 h 538647"/>
              <a:gd name="connsiteX33" fmla="*/ 175954 w 545883"/>
              <a:gd name="connsiteY33" fmla="*/ 377580 h 538647"/>
              <a:gd name="connsiteX34" fmla="*/ 175546 w 545883"/>
              <a:gd name="connsiteY34" fmla="*/ 377580 h 538647"/>
              <a:gd name="connsiteX35" fmla="*/ 173916 w 545883"/>
              <a:gd name="connsiteY35" fmla="*/ 378803 h 538647"/>
              <a:gd name="connsiteX36" fmla="*/ 173508 w 545883"/>
              <a:gd name="connsiteY36" fmla="*/ 379210 h 538647"/>
              <a:gd name="connsiteX37" fmla="*/ 173100 w 545883"/>
              <a:gd name="connsiteY37" fmla="*/ 379618 h 538647"/>
              <a:gd name="connsiteX38" fmla="*/ 173508 w 545883"/>
              <a:gd name="connsiteY38" fmla="*/ 388994 h 538647"/>
              <a:gd name="connsiteX39" fmla="*/ 189002 w 545883"/>
              <a:gd name="connsiteY39" fmla="*/ 404485 h 538647"/>
              <a:gd name="connsiteX40" fmla="*/ 201234 w 545883"/>
              <a:gd name="connsiteY40" fmla="*/ 406523 h 538647"/>
              <a:gd name="connsiteX41" fmla="*/ 204496 w 545883"/>
              <a:gd name="connsiteY41" fmla="*/ 404485 h 538647"/>
              <a:gd name="connsiteX42" fmla="*/ 230592 w 545883"/>
              <a:gd name="connsiteY42" fmla="*/ 377580 h 538647"/>
              <a:gd name="connsiteX43" fmla="*/ 238339 w 545883"/>
              <a:gd name="connsiteY43" fmla="*/ 370242 h 538647"/>
              <a:gd name="connsiteX44" fmla="*/ 240378 w 545883"/>
              <a:gd name="connsiteY44" fmla="*/ 365351 h 538647"/>
              <a:gd name="connsiteX45" fmla="*/ 238339 w 545883"/>
              <a:gd name="connsiteY45" fmla="*/ 360459 h 538647"/>
              <a:gd name="connsiteX46" fmla="*/ 236301 w 545883"/>
              <a:gd name="connsiteY46" fmla="*/ 359236 h 538647"/>
              <a:gd name="connsiteX47" fmla="*/ 235485 w 545883"/>
              <a:gd name="connsiteY47" fmla="*/ 359236 h 538647"/>
              <a:gd name="connsiteX48" fmla="*/ 233854 w 545883"/>
              <a:gd name="connsiteY48" fmla="*/ 359236 h 538647"/>
              <a:gd name="connsiteX49" fmla="*/ 233446 w 545883"/>
              <a:gd name="connsiteY49" fmla="*/ 359236 h 538647"/>
              <a:gd name="connsiteX50" fmla="*/ 231408 w 545883"/>
              <a:gd name="connsiteY50" fmla="*/ 359236 h 538647"/>
              <a:gd name="connsiteX51" fmla="*/ 231000 w 545883"/>
              <a:gd name="connsiteY51" fmla="*/ 359236 h 538647"/>
              <a:gd name="connsiteX52" fmla="*/ 182886 w 545883"/>
              <a:gd name="connsiteY52" fmla="*/ 354344 h 538647"/>
              <a:gd name="connsiteX53" fmla="*/ 175954 w 545883"/>
              <a:gd name="connsiteY53" fmla="*/ 361274 h 538647"/>
              <a:gd name="connsiteX54" fmla="*/ 175954 w 545883"/>
              <a:gd name="connsiteY54" fmla="*/ 363312 h 538647"/>
              <a:gd name="connsiteX55" fmla="*/ 176770 w 545883"/>
              <a:gd name="connsiteY55" fmla="*/ 363312 h 538647"/>
              <a:gd name="connsiteX56" fmla="*/ 180032 w 545883"/>
              <a:gd name="connsiteY56" fmla="*/ 363312 h 538647"/>
              <a:gd name="connsiteX57" fmla="*/ 180847 w 545883"/>
              <a:gd name="connsiteY57" fmla="*/ 363312 h 538647"/>
              <a:gd name="connsiteX58" fmla="*/ 184109 w 545883"/>
              <a:gd name="connsiteY58" fmla="*/ 364128 h 538647"/>
              <a:gd name="connsiteX59" fmla="*/ 184925 w 545883"/>
              <a:gd name="connsiteY59" fmla="*/ 364535 h 538647"/>
              <a:gd name="connsiteX60" fmla="*/ 188187 w 545883"/>
              <a:gd name="connsiteY60" fmla="*/ 366166 h 538647"/>
              <a:gd name="connsiteX61" fmla="*/ 189410 w 545883"/>
              <a:gd name="connsiteY61" fmla="*/ 366166 h 538647"/>
              <a:gd name="connsiteX62" fmla="*/ 192672 w 545883"/>
              <a:gd name="connsiteY62" fmla="*/ 369427 h 538647"/>
              <a:gd name="connsiteX63" fmla="*/ 196749 w 545883"/>
              <a:gd name="connsiteY63" fmla="*/ 373096 h 538647"/>
              <a:gd name="connsiteX64" fmla="*/ 215098 w 545883"/>
              <a:gd name="connsiteY64" fmla="*/ 354344 h 538647"/>
              <a:gd name="connsiteX65" fmla="*/ 64752 w 545883"/>
              <a:gd name="connsiteY65" fmla="*/ 354344 h 538647"/>
              <a:gd name="connsiteX66" fmla="*/ 57776 w 545883"/>
              <a:gd name="connsiteY66" fmla="*/ 361274 h 538647"/>
              <a:gd name="connsiteX67" fmla="*/ 57776 w 545883"/>
              <a:gd name="connsiteY67" fmla="*/ 404893 h 538647"/>
              <a:gd name="connsiteX68" fmla="*/ 64752 w 545883"/>
              <a:gd name="connsiteY68" fmla="*/ 412230 h 538647"/>
              <a:gd name="connsiteX69" fmla="*/ 110301 w 545883"/>
              <a:gd name="connsiteY69" fmla="*/ 412230 h 538647"/>
              <a:gd name="connsiteX70" fmla="*/ 117277 w 545883"/>
              <a:gd name="connsiteY70" fmla="*/ 404893 h 538647"/>
              <a:gd name="connsiteX71" fmla="*/ 117277 w 545883"/>
              <a:gd name="connsiteY71" fmla="*/ 361274 h 538647"/>
              <a:gd name="connsiteX72" fmla="*/ 110301 w 545883"/>
              <a:gd name="connsiteY72" fmla="*/ 354344 h 538647"/>
              <a:gd name="connsiteX73" fmla="*/ 301779 w 545883"/>
              <a:gd name="connsiteY73" fmla="*/ 340077 h 538647"/>
              <a:gd name="connsiteX74" fmla="*/ 347457 w 545883"/>
              <a:gd name="connsiteY74" fmla="*/ 340077 h 538647"/>
              <a:gd name="connsiteX75" fmla="*/ 364328 w 545883"/>
              <a:gd name="connsiteY75" fmla="*/ 348637 h 538647"/>
              <a:gd name="connsiteX76" fmla="*/ 362682 w 545883"/>
              <a:gd name="connsiteY76" fmla="*/ 358013 h 538647"/>
              <a:gd name="connsiteX77" fmla="*/ 352806 w 545883"/>
              <a:gd name="connsiteY77" fmla="*/ 356790 h 538647"/>
              <a:gd name="connsiteX78" fmla="*/ 347457 w 545883"/>
              <a:gd name="connsiteY78" fmla="*/ 354344 h 538647"/>
              <a:gd name="connsiteX79" fmla="*/ 301779 w 545883"/>
              <a:gd name="connsiteY79" fmla="*/ 354344 h 538647"/>
              <a:gd name="connsiteX80" fmla="*/ 294372 w 545883"/>
              <a:gd name="connsiteY80" fmla="*/ 361274 h 538647"/>
              <a:gd name="connsiteX81" fmla="*/ 294372 w 545883"/>
              <a:gd name="connsiteY81" fmla="*/ 404893 h 538647"/>
              <a:gd name="connsiteX82" fmla="*/ 301779 w 545883"/>
              <a:gd name="connsiteY82" fmla="*/ 412230 h 538647"/>
              <a:gd name="connsiteX83" fmla="*/ 326058 w 545883"/>
              <a:gd name="connsiteY83" fmla="*/ 412230 h 538647"/>
              <a:gd name="connsiteX84" fmla="*/ 333054 w 545883"/>
              <a:gd name="connsiteY84" fmla="*/ 419160 h 538647"/>
              <a:gd name="connsiteX85" fmla="*/ 326058 w 545883"/>
              <a:gd name="connsiteY85" fmla="*/ 426498 h 538647"/>
              <a:gd name="connsiteX86" fmla="*/ 301779 w 545883"/>
              <a:gd name="connsiteY86" fmla="*/ 426498 h 538647"/>
              <a:gd name="connsiteX87" fmla="*/ 280381 w 545883"/>
              <a:gd name="connsiteY87" fmla="*/ 404893 h 538647"/>
              <a:gd name="connsiteX88" fmla="*/ 280381 w 545883"/>
              <a:gd name="connsiteY88" fmla="*/ 361274 h 538647"/>
              <a:gd name="connsiteX89" fmla="*/ 301779 w 545883"/>
              <a:gd name="connsiteY89" fmla="*/ 340077 h 538647"/>
              <a:gd name="connsiteX90" fmla="*/ 182886 w 545883"/>
              <a:gd name="connsiteY90" fmla="*/ 340077 h 538647"/>
              <a:gd name="connsiteX91" fmla="*/ 228146 w 545883"/>
              <a:gd name="connsiteY91" fmla="*/ 340077 h 538647"/>
              <a:gd name="connsiteX92" fmla="*/ 244863 w 545883"/>
              <a:gd name="connsiteY92" fmla="*/ 347822 h 538647"/>
              <a:gd name="connsiteX93" fmla="*/ 248533 w 545883"/>
              <a:gd name="connsiteY93" fmla="*/ 350675 h 538647"/>
              <a:gd name="connsiteX94" fmla="*/ 254649 w 545883"/>
              <a:gd name="connsiteY94" fmla="*/ 365351 h 538647"/>
              <a:gd name="connsiteX95" fmla="*/ 249756 w 545883"/>
              <a:gd name="connsiteY95" fmla="*/ 378803 h 538647"/>
              <a:gd name="connsiteX96" fmla="*/ 249756 w 545883"/>
              <a:gd name="connsiteY96" fmla="*/ 404893 h 538647"/>
              <a:gd name="connsiteX97" fmla="*/ 228146 w 545883"/>
              <a:gd name="connsiteY97" fmla="*/ 426498 h 538647"/>
              <a:gd name="connsiteX98" fmla="*/ 182886 w 545883"/>
              <a:gd name="connsiteY98" fmla="*/ 426498 h 538647"/>
              <a:gd name="connsiteX99" fmla="*/ 161683 w 545883"/>
              <a:gd name="connsiteY99" fmla="*/ 404893 h 538647"/>
              <a:gd name="connsiteX100" fmla="*/ 161683 w 545883"/>
              <a:gd name="connsiteY100" fmla="*/ 397147 h 538647"/>
              <a:gd name="connsiteX101" fmla="*/ 161683 w 545883"/>
              <a:gd name="connsiteY101" fmla="*/ 371058 h 538647"/>
              <a:gd name="connsiteX102" fmla="*/ 161683 w 545883"/>
              <a:gd name="connsiteY102" fmla="*/ 361274 h 538647"/>
              <a:gd name="connsiteX103" fmla="*/ 182886 w 545883"/>
              <a:gd name="connsiteY103" fmla="*/ 340077 h 538647"/>
              <a:gd name="connsiteX104" fmla="*/ 64752 w 545883"/>
              <a:gd name="connsiteY104" fmla="*/ 340077 h 538647"/>
              <a:gd name="connsiteX105" fmla="*/ 110301 w 545883"/>
              <a:gd name="connsiteY105" fmla="*/ 340077 h 538647"/>
              <a:gd name="connsiteX106" fmla="*/ 131640 w 545883"/>
              <a:gd name="connsiteY106" fmla="*/ 361274 h 538647"/>
              <a:gd name="connsiteX107" fmla="*/ 131640 w 545883"/>
              <a:gd name="connsiteY107" fmla="*/ 404893 h 538647"/>
              <a:gd name="connsiteX108" fmla="*/ 110301 w 545883"/>
              <a:gd name="connsiteY108" fmla="*/ 426498 h 538647"/>
              <a:gd name="connsiteX109" fmla="*/ 64752 w 545883"/>
              <a:gd name="connsiteY109" fmla="*/ 426498 h 538647"/>
              <a:gd name="connsiteX110" fmla="*/ 43414 w 545883"/>
              <a:gd name="connsiteY110" fmla="*/ 404893 h 538647"/>
              <a:gd name="connsiteX111" fmla="*/ 43414 w 545883"/>
              <a:gd name="connsiteY111" fmla="*/ 361274 h 538647"/>
              <a:gd name="connsiteX112" fmla="*/ 64752 w 545883"/>
              <a:gd name="connsiteY112" fmla="*/ 340077 h 538647"/>
              <a:gd name="connsiteX113" fmla="*/ 443540 w 545883"/>
              <a:gd name="connsiteY113" fmla="*/ 332841 h 538647"/>
              <a:gd name="connsiteX114" fmla="*/ 545883 w 545883"/>
              <a:gd name="connsiteY114" fmla="*/ 435539 h 538647"/>
              <a:gd name="connsiteX115" fmla="*/ 443540 w 545883"/>
              <a:gd name="connsiteY115" fmla="*/ 538647 h 538647"/>
              <a:gd name="connsiteX116" fmla="*/ 341198 w 545883"/>
              <a:gd name="connsiteY116" fmla="*/ 442933 h 538647"/>
              <a:gd name="connsiteX117" fmla="*/ 347748 w 545883"/>
              <a:gd name="connsiteY117" fmla="*/ 435128 h 538647"/>
              <a:gd name="connsiteX118" fmla="*/ 355526 w 545883"/>
              <a:gd name="connsiteY118" fmla="*/ 442112 h 538647"/>
              <a:gd name="connsiteX119" fmla="*/ 443540 w 545883"/>
              <a:gd name="connsiteY119" fmla="*/ 524270 h 538647"/>
              <a:gd name="connsiteX120" fmla="*/ 531145 w 545883"/>
              <a:gd name="connsiteY120" fmla="*/ 435539 h 538647"/>
              <a:gd name="connsiteX121" fmla="*/ 443540 w 545883"/>
              <a:gd name="connsiteY121" fmla="*/ 347218 h 538647"/>
              <a:gd name="connsiteX122" fmla="*/ 366988 w 545883"/>
              <a:gd name="connsiteY122" fmla="*/ 390762 h 538647"/>
              <a:gd name="connsiteX123" fmla="*/ 373947 w 545883"/>
              <a:gd name="connsiteY123" fmla="*/ 386654 h 538647"/>
              <a:gd name="connsiteX124" fmla="*/ 383363 w 545883"/>
              <a:gd name="connsiteY124" fmla="*/ 388708 h 538647"/>
              <a:gd name="connsiteX125" fmla="*/ 381316 w 545883"/>
              <a:gd name="connsiteY125" fmla="*/ 398568 h 538647"/>
              <a:gd name="connsiteX126" fmla="*/ 355116 w 545883"/>
              <a:gd name="connsiteY126" fmla="*/ 414999 h 538647"/>
              <a:gd name="connsiteX127" fmla="*/ 351432 w 545883"/>
              <a:gd name="connsiteY127" fmla="*/ 416232 h 538647"/>
              <a:gd name="connsiteX128" fmla="*/ 348976 w 545883"/>
              <a:gd name="connsiteY128" fmla="*/ 415821 h 538647"/>
              <a:gd name="connsiteX129" fmla="*/ 344882 w 545883"/>
              <a:gd name="connsiteY129" fmla="*/ 411302 h 538647"/>
              <a:gd name="connsiteX130" fmla="*/ 335467 w 545883"/>
              <a:gd name="connsiteY130" fmla="*/ 382546 h 538647"/>
              <a:gd name="connsiteX131" fmla="*/ 340379 w 545883"/>
              <a:gd name="connsiteY131" fmla="*/ 373509 h 538647"/>
              <a:gd name="connsiteX132" fmla="*/ 349385 w 545883"/>
              <a:gd name="connsiteY132" fmla="*/ 378028 h 538647"/>
              <a:gd name="connsiteX133" fmla="*/ 352251 w 545883"/>
              <a:gd name="connsiteY133" fmla="*/ 388298 h 538647"/>
              <a:gd name="connsiteX134" fmla="*/ 443540 w 545883"/>
              <a:gd name="connsiteY134" fmla="*/ 332841 h 538647"/>
              <a:gd name="connsiteX135" fmla="*/ 117905 w 545883"/>
              <a:gd name="connsiteY135" fmla="*/ 289960 h 538647"/>
              <a:gd name="connsiteX136" fmla="*/ 99148 w 545883"/>
              <a:gd name="connsiteY136" fmla="*/ 309120 h 538647"/>
              <a:gd name="connsiteX137" fmla="*/ 110973 w 545883"/>
              <a:gd name="connsiteY137" fmla="*/ 309120 h 538647"/>
              <a:gd name="connsiteX138" fmla="*/ 117905 w 545883"/>
              <a:gd name="connsiteY138" fmla="*/ 302190 h 538647"/>
              <a:gd name="connsiteX139" fmla="*/ 115458 w 545883"/>
              <a:gd name="connsiteY139" fmla="*/ 255718 h 538647"/>
              <a:gd name="connsiteX140" fmla="*/ 114235 w 545883"/>
              <a:gd name="connsiteY140" fmla="*/ 256126 h 538647"/>
              <a:gd name="connsiteX141" fmla="*/ 113420 w 545883"/>
              <a:gd name="connsiteY141" fmla="*/ 256126 h 538647"/>
              <a:gd name="connsiteX142" fmla="*/ 111381 w 545883"/>
              <a:gd name="connsiteY142" fmla="*/ 257349 h 538647"/>
              <a:gd name="connsiteX143" fmla="*/ 110973 w 545883"/>
              <a:gd name="connsiteY143" fmla="*/ 257757 h 538647"/>
              <a:gd name="connsiteX144" fmla="*/ 87324 w 545883"/>
              <a:gd name="connsiteY144" fmla="*/ 281808 h 538647"/>
              <a:gd name="connsiteX145" fmla="*/ 71014 w 545883"/>
              <a:gd name="connsiteY145" fmla="*/ 281808 h 538647"/>
              <a:gd name="connsiteX146" fmla="*/ 65305 w 545883"/>
              <a:gd name="connsiteY146" fmla="*/ 276508 h 538647"/>
              <a:gd name="connsiteX147" fmla="*/ 63266 w 545883"/>
              <a:gd name="connsiteY147" fmla="*/ 274878 h 538647"/>
              <a:gd name="connsiteX148" fmla="*/ 61228 w 545883"/>
              <a:gd name="connsiteY148" fmla="*/ 274470 h 538647"/>
              <a:gd name="connsiteX149" fmla="*/ 60820 w 545883"/>
              <a:gd name="connsiteY149" fmla="*/ 274470 h 538647"/>
              <a:gd name="connsiteX150" fmla="*/ 58373 w 545883"/>
              <a:gd name="connsiteY150" fmla="*/ 274878 h 538647"/>
              <a:gd name="connsiteX151" fmla="*/ 56335 w 545883"/>
              <a:gd name="connsiteY151" fmla="*/ 276100 h 538647"/>
              <a:gd name="connsiteX152" fmla="*/ 55927 w 545883"/>
              <a:gd name="connsiteY152" fmla="*/ 276100 h 538647"/>
              <a:gd name="connsiteX153" fmla="*/ 55519 w 545883"/>
              <a:gd name="connsiteY153" fmla="*/ 276508 h 538647"/>
              <a:gd name="connsiteX154" fmla="*/ 55519 w 545883"/>
              <a:gd name="connsiteY154" fmla="*/ 285884 h 538647"/>
              <a:gd name="connsiteX155" fmla="*/ 58373 w 545883"/>
              <a:gd name="connsiteY155" fmla="*/ 288737 h 538647"/>
              <a:gd name="connsiteX156" fmla="*/ 71421 w 545883"/>
              <a:gd name="connsiteY156" fmla="*/ 301374 h 538647"/>
              <a:gd name="connsiteX157" fmla="*/ 75499 w 545883"/>
              <a:gd name="connsiteY157" fmla="*/ 303820 h 538647"/>
              <a:gd name="connsiteX158" fmla="*/ 86508 w 545883"/>
              <a:gd name="connsiteY158" fmla="*/ 301374 h 538647"/>
              <a:gd name="connsiteX159" fmla="*/ 104449 w 545883"/>
              <a:gd name="connsiteY159" fmla="*/ 283438 h 538647"/>
              <a:gd name="connsiteX160" fmla="*/ 120759 w 545883"/>
              <a:gd name="connsiteY160" fmla="*/ 267132 h 538647"/>
              <a:gd name="connsiteX161" fmla="*/ 122798 w 545883"/>
              <a:gd name="connsiteY161" fmla="*/ 262241 h 538647"/>
              <a:gd name="connsiteX162" fmla="*/ 120759 w 545883"/>
              <a:gd name="connsiteY162" fmla="*/ 257757 h 538647"/>
              <a:gd name="connsiteX163" fmla="*/ 119128 w 545883"/>
              <a:gd name="connsiteY163" fmla="*/ 256534 h 538647"/>
              <a:gd name="connsiteX164" fmla="*/ 117905 w 545883"/>
              <a:gd name="connsiteY164" fmla="*/ 256126 h 538647"/>
              <a:gd name="connsiteX165" fmla="*/ 116682 w 545883"/>
              <a:gd name="connsiteY165" fmla="*/ 256126 h 538647"/>
              <a:gd name="connsiteX166" fmla="*/ 115458 w 545883"/>
              <a:gd name="connsiteY166" fmla="*/ 255718 h 538647"/>
              <a:gd name="connsiteX167" fmla="*/ 301819 w 545883"/>
              <a:gd name="connsiteY167" fmla="*/ 251642 h 538647"/>
              <a:gd name="connsiteX168" fmla="*/ 294398 w 545883"/>
              <a:gd name="connsiteY168" fmla="*/ 258572 h 538647"/>
              <a:gd name="connsiteX169" fmla="*/ 294398 w 545883"/>
              <a:gd name="connsiteY169" fmla="*/ 302190 h 538647"/>
              <a:gd name="connsiteX170" fmla="*/ 301819 w 545883"/>
              <a:gd name="connsiteY170" fmla="*/ 309120 h 538647"/>
              <a:gd name="connsiteX171" fmla="*/ 347581 w 545883"/>
              <a:gd name="connsiteY171" fmla="*/ 309120 h 538647"/>
              <a:gd name="connsiteX172" fmla="*/ 354589 w 545883"/>
              <a:gd name="connsiteY172" fmla="*/ 302190 h 538647"/>
              <a:gd name="connsiteX173" fmla="*/ 354589 w 545883"/>
              <a:gd name="connsiteY173" fmla="*/ 258572 h 538647"/>
              <a:gd name="connsiteX174" fmla="*/ 347581 w 545883"/>
              <a:gd name="connsiteY174" fmla="*/ 251642 h 538647"/>
              <a:gd name="connsiteX175" fmla="*/ 184043 w 545883"/>
              <a:gd name="connsiteY175" fmla="*/ 251642 h 538647"/>
              <a:gd name="connsiteX176" fmla="*/ 177099 w 545883"/>
              <a:gd name="connsiteY176" fmla="*/ 258572 h 538647"/>
              <a:gd name="connsiteX177" fmla="*/ 177099 w 545883"/>
              <a:gd name="connsiteY177" fmla="*/ 302190 h 538647"/>
              <a:gd name="connsiteX178" fmla="*/ 184043 w 545883"/>
              <a:gd name="connsiteY178" fmla="*/ 309120 h 538647"/>
              <a:gd name="connsiteX179" fmla="*/ 229382 w 545883"/>
              <a:gd name="connsiteY179" fmla="*/ 309120 h 538647"/>
              <a:gd name="connsiteX180" fmla="*/ 236734 w 545883"/>
              <a:gd name="connsiteY180" fmla="*/ 302190 h 538647"/>
              <a:gd name="connsiteX181" fmla="*/ 236734 w 545883"/>
              <a:gd name="connsiteY181" fmla="*/ 258572 h 538647"/>
              <a:gd name="connsiteX182" fmla="*/ 229382 w 545883"/>
              <a:gd name="connsiteY182" fmla="*/ 251642 h 538647"/>
              <a:gd name="connsiteX183" fmla="*/ 65713 w 545883"/>
              <a:gd name="connsiteY183" fmla="*/ 251642 h 538647"/>
              <a:gd name="connsiteX184" fmla="*/ 58781 w 545883"/>
              <a:gd name="connsiteY184" fmla="*/ 258572 h 538647"/>
              <a:gd name="connsiteX185" fmla="*/ 58781 w 545883"/>
              <a:gd name="connsiteY185" fmla="*/ 260202 h 538647"/>
              <a:gd name="connsiteX186" fmla="*/ 62451 w 545883"/>
              <a:gd name="connsiteY186" fmla="*/ 260202 h 538647"/>
              <a:gd name="connsiteX187" fmla="*/ 63266 w 545883"/>
              <a:gd name="connsiteY187" fmla="*/ 260610 h 538647"/>
              <a:gd name="connsiteX188" fmla="*/ 66528 w 545883"/>
              <a:gd name="connsiteY188" fmla="*/ 261018 h 538647"/>
              <a:gd name="connsiteX189" fmla="*/ 67752 w 545883"/>
              <a:gd name="connsiteY189" fmla="*/ 261425 h 538647"/>
              <a:gd name="connsiteX190" fmla="*/ 70606 w 545883"/>
              <a:gd name="connsiteY190" fmla="*/ 263056 h 538647"/>
              <a:gd name="connsiteX191" fmla="*/ 71421 w 545883"/>
              <a:gd name="connsiteY191" fmla="*/ 263464 h 538647"/>
              <a:gd name="connsiteX192" fmla="*/ 75091 w 545883"/>
              <a:gd name="connsiteY192" fmla="*/ 266317 h 538647"/>
              <a:gd name="connsiteX193" fmla="*/ 79169 w 545883"/>
              <a:gd name="connsiteY193" fmla="*/ 270393 h 538647"/>
              <a:gd name="connsiteX194" fmla="*/ 97517 w 545883"/>
              <a:gd name="connsiteY194" fmla="*/ 251642 h 538647"/>
              <a:gd name="connsiteX195" fmla="*/ 301819 w 545883"/>
              <a:gd name="connsiteY195" fmla="*/ 236967 h 538647"/>
              <a:gd name="connsiteX196" fmla="*/ 347581 w 545883"/>
              <a:gd name="connsiteY196" fmla="*/ 236967 h 538647"/>
              <a:gd name="connsiteX197" fmla="*/ 368607 w 545883"/>
              <a:gd name="connsiteY197" fmla="*/ 258572 h 538647"/>
              <a:gd name="connsiteX198" fmla="*/ 368607 w 545883"/>
              <a:gd name="connsiteY198" fmla="*/ 302190 h 538647"/>
              <a:gd name="connsiteX199" fmla="*/ 347581 w 545883"/>
              <a:gd name="connsiteY199" fmla="*/ 323387 h 538647"/>
              <a:gd name="connsiteX200" fmla="*/ 301819 w 545883"/>
              <a:gd name="connsiteY200" fmla="*/ 323387 h 538647"/>
              <a:gd name="connsiteX201" fmla="*/ 280381 w 545883"/>
              <a:gd name="connsiteY201" fmla="*/ 302190 h 538647"/>
              <a:gd name="connsiteX202" fmla="*/ 280381 w 545883"/>
              <a:gd name="connsiteY202" fmla="*/ 258572 h 538647"/>
              <a:gd name="connsiteX203" fmla="*/ 301819 w 545883"/>
              <a:gd name="connsiteY203" fmla="*/ 236967 h 538647"/>
              <a:gd name="connsiteX204" fmla="*/ 184043 w 545883"/>
              <a:gd name="connsiteY204" fmla="*/ 236967 h 538647"/>
              <a:gd name="connsiteX205" fmla="*/ 229382 w 545883"/>
              <a:gd name="connsiteY205" fmla="*/ 236967 h 538647"/>
              <a:gd name="connsiteX206" fmla="*/ 251030 w 545883"/>
              <a:gd name="connsiteY206" fmla="*/ 258572 h 538647"/>
              <a:gd name="connsiteX207" fmla="*/ 251030 w 545883"/>
              <a:gd name="connsiteY207" fmla="*/ 302190 h 538647"/>
              <a:gd name="connsiteX208" fmla="*/ 229382 w 545883"/>
              <a:gd name="connsiteY208" fmla="*/ 323387 h 538647"/>
              <a:gd name="connsiteX209" fmla="*/ 184043 w 545883"/>
              <a:gd name="connsiteY209" fmla="*/ 323387 h 538647"/>
              <a:gd name="connsiteX210" fmla="*/ 162803 w 545883"/>
              <a:gd name="connsiteY210" fmla="*/ 302190 h 538647"/>
              <a:gd name="connsiteX211" fmla="*/ 162803 w 545883"/>
              <a:gd name="connsiteY211" fmla="*/ 258572 h 538647"/>
              <a:gd name="connsiteX212" fmla="*/ 184043 w 545883"/>
              <a:gd name="connsiteY212" fmla="*/ 236967 h 538647"/>
              <a:gd name="connsiteX213" fmla="*/ 65713 w 545883"/>
              <a:gd name="connsiteY213" fmla="*/ 236967 h 538647"/>
              <a:gd name="connsiteX214" fmla="*/ 110973 w 545883"/>
              <a:gd name="connsiteY214" fmla="*/ 236967 h 538647"/>
              <a:gd name="connsiteX215" fmla="*/ 127283 w 545883"/>
              <a:gd name="connsiteY215" fmla="*/ 244712 h 538647"/>
              <a:gd name="connsiteX216" fmla="*/ 130953 w 545883"/>
              <a:gd name="connsiteY216" fmla="*/ 247565 h 538647"/>
              <a:gd name="connsiteX217" fmla="*/ 137069 w 545883"/>
              <a:gd name="connsiteY217" fmla="*/ 262241 h 538647"/>
              <a:gd name="connsiteX218" fmla="*/ 132176 w 545883"/>
              <a:gd name="connsiteY218" fmla="*/ 275693 h 538647"/>
              <a:gd name="connsiteX219" fmla="*/ 132176 w 545883"/>
              <a:gd name="connsiteY219" fmla="*/ 302190 h 538647"/>
              <a:gd name="connsiteX220" fmla="*/ 110973 w 545883"/>
              <a:gd name="connsiteY220" fmla="*/ 323387 h 538647"/>
              <a:gd name="connsiteX221" fmla="*/ 65713 w 545883"/>
              <a:gd name="connsiteY221" fmla="*/ 323387 h 538647"/>
              <a:gd name="connsiteX222" fmla="*/ 44510 w 545883"/>
              <a:gd name="connsiteY222" fmla="*/ 302190 h 538647"/>
              <a:gd name="connsiteX223" fmla="*/ 44510 w 545883"/>
              <a:gd name="connsiteY223" fmla="*/ 294444 h 538647"/>
              <a:gd name="connsiteX224" fmla="*/ 44510 w 545883"/>
              <a:gd name="connsiteY224" fmla="*/ 267948 h 538647"/>
              <a:gd name="connsiteX225" fmla="*/ 44510 w 545883"/>
              <a:gd name="connsiteY225" fmla="*/ 258572 h 538647"/>
              <a:gd name="connsiteX226" fmla="*/ 65713 w 545883"/>
              <a:gd name="connsiteY226" fmla="*/ 236967 h 538647"/>
              <a:gd name="connsiteX227" fmla="*/ 301819 w 545883"/>
              <a:gd name="connsiteY227" fmla="*/ 147785 h 538647"/>
              <a:gd name="connsiteX228" fmla="*/ 294398 w 545883"/>
              <a:gd name="connsiteY228" fmla="*/ 155157 h 538647"/>
              <a:gd name="connsiteX229" fmla="*/ 294398 w 545883"/>
              <a:gd name="connsiteY229" fmla="*/ 198981 h 538647"/>
              <a:gd name="connsiteX230" fmla="*/ 301819 w 545883"/>
              <a:gd name="connsiteY230" fmla="*/ 205943 h 538647"/>
              <a:gd name="connsiteX231" fmla="*/ 347581 w 545883"/>
              <a:gd name="connsiteY231" fmla="*/ 205943 h 538647"/>
              <a:gd name="connsiteX232" fmla="*/ 354589 w 545883"/>
              <a:gd name="connsiteY232" fmla="*/ 198981 h 538647"/>
              <a:gd name="connsiteX233" fmla="*/ 354589 w 545883"/>
              <a:gd name="connsiteY233" fmla="*/ 155157 h 538647"/>
              <a:gd name="connsiteX234" fmla="*/ 347581 w 545883"/>
              <a:gd name="connsiteY234" fmla="*/ 147785 h 538647"/>
              <a:gd name="connsiteX235" fmla="*/ 184043 w 545883"/>
              <a:gd name="connsiteY235" fmla="*/ 147785 h 538647"/>
              <a:gd name="connsiteX236" fmla="*/ 177099 w 545883"/>
              <a:gd name="connsiteY236" fmla="*/ 155157 h 538647"/>
              <a:gd name="connsiteX237" fmla="*/ 177099 w 545883"/>
              <a:gd name="connsiteY237" fmla="*/ 198981 h 538647"/>
              <a:gd name="connsiteX238" fmla="*/ 184043 w 545883"/>
              <a:gd name="connsiteY238" fmla="*/ 205943 h 538647"/>
              <a:gd name="connsiteX239" fmla="*/ 229382 w 545883"/>
              <a:gd name="connsiteY239" fmla="*/ 205943 h 538647"/>
              <a:gd name="connsiteX240" fmla="*/ 236734 w 545883"/>
              <a:gd name="connsiteY240" fmla="*/ 198981 h 538647"/>
              <a:gd name="connsiteX241" fmla="*/ 236734 w 545883"/>
              <a:gd name="connsiteY241" fmla="*/ 155157 h 538647"/>
              <a:gd name="connsiteX242" fmla="*/ 229382 w 545883"/>
              <a:gd name="connsiteY242" fmla="*/ 147785 h 538647"/>
              <a:gd name="connsiteX243" fmla="*/ 64752 w 545883"/>
              <a:gd name="connsiteY243" fmla="*/ 147785 h 538647"/>
              <a:gd name="connsiteX244" fmla="*/ 57776 w 545883"/>
              <a:gd name="connsiteY244" fmla="*/ 155157 h 538647"/>
              <a:gd name="connsiteX245" fmla="*/ 57776 w 545883"/>
              <a:gd name="connsiteY245" fmla="*/ 198981 h 538647"/>
              <a:gd name="connsiteX246" fmla="*/ 64752 w 545883"/>
              <a:gd name="connsiteY246" fmla="*/ 205943 h 538647"/>
              <a:gd name="connsiteX247" fmla="*/ 110301 w 545883"/>
              <a:gd name="connsiteY247" fmla="*/ 205943 h 538647"/>
              <a:gd name="connsiteX248" fmla="*/ 117277 w 545883"/>
              <a:gd name="connsiteY248" fmla="*/ 198981 h 538647"/>
              <a:gd name="connsiteX249" fmla="*/ 117277 w 545883"/>
              <a:gd name="connsiteY249" fmla="*/ 155157 h 538647"/>
              <a:gd name="connsiteX250" fmla="*/ 110301 w 545883"/>
              <a:gd name="connsiteY250" fmla="*/ 147785 h 538647"/>
              <a:gd name="connsiteX251" fmla="*/ 301819 w 545883"/>
              <a:gd name="connsiteY251" fmla="*/ 133860 h 538647"/>
              <a:gd name="connsiteX252" fmla="*/ 347581 w 545883"/>
              <a:gd name="connsiteY252" fmla="*/ 133860 h 538647"/>
              <a:gd name="connsiteX253" fmla="*/ 368607 w 545883"/>
              <a:gd name="connsiteY253" fmla="*/ 155157 h 538647"/>
              <a:gd name="connsiteX254" fmla="*/ 368607 w 545883"/>
              <a:gd name="connsiteY254" fmla="*/ 198981 h 538647"/>
              <a:gd name="connsiteX255" fmla="*/ 347581 w 545883"/>
              <a:gd name="connsiteY255" fmla="*/ 220278 h 538647"/>
              <a:gd name="connsiteX256" fmla="*/ 301819 w 545883"/>
              <a:gd name="connsiteY256" fmla="*/ 220278 h 538647"/>
              <a:gd name="connsiteX257" fmla="*/ 280381 w 545883"/>
              <a:gd name="connsiteY257" fmla="*/ 198981 h 538647"/>
              <a:gd name="connsiteX258" fmla="*/ 280381 w 545883"/>
              <a:gd name="connsiteY258" fmla="*/ 155157 h 538647"/>
              <a:gd name="connsiteX259" fmla="*/ 301819 w 545883"/>
              <a:gd name="connsiteY259" fmla="*/ 133860 h 538647"/>
              <a:gd name="connsiteX260" fmla="*/ 184043 w 545883"/>
              <a:gd name="connsiteY260" fmla="*/ 133860 h 538647"/>
              <a:gd name="connsiteX261" fmla="*/ 229382 w 545883"/>
              <a:gd name="connsiteY261" fmla="*/ 133860 h 538647"/>
              <a:gd name="connsiteX262" fmla="*/ 251030 w 545883"/>
              <a:gd name="connsiteY262" fmla="*/ 155157 h 538647"/>
              <a:gd name="connsiteX263" fmla="*/ 251030 w 545883"/>
              <a:gd name="connsiteY263" fmla="*/ 198981 h 538647"/>
              <a:gd name="connsiteX264" fmla="*/ 229382 w 545883"/>
              <a:gd name="connsiteY264" fmla="*/ 220278 h 538647"/>
              <a:gd name="connsiteX265" fmla="*/ 184043 w 545883"/>
              <a:gd name="connsiteY265" fmla="*/ 220278 h 538647"/>
              <a:gd name="connsiteX266" fmla="*/ 162803 w 545883"/>
              <a:gd name="connsiteY266" fmla="*/ 198981 h 538647"/>
              <a:gd name="connsiteX267" fmla="*/ 162803 w 545883"/>
              <a:gd name="connsiteY267" fmla="*/ 155157 h 538647"/>
              <a:gd name="connsiteX268" fmla="*/ 184043 w 545883"/>
              <a:gd name="connsiteY268" fmla="*/ 133860 h 538647"/>
              <a:gd name="connsiteX269" fmla="*/ 64752 w 545883"/>
              <a:gd name="connsiteY269" fmla="*/ 133860 h 538647"/>
              <a:gd name="connsiteX270" fmla="*/ 110301 w 545883"/>
              <a:gd name="connsiteY270" fmla="*/ 133860 h 538647"/>
              <a:gd name="connsiteX271" fmla="*/ 131640 w 545883"/>
              <a:gd name="connsiteY271" fmla="*/ 155157 h 538647"/>
              <a:gd name="connsiteX272" fmla="*/ 131640 w 545883"/>
              <a:gd name="connsiteY272" fmla="*/ 198981 h 538647"/>
              <a:gd name="connsiteX273" fmla="*/ 110301 w 545883"/>
              <a:gd name="connsiteY273" fmla="*/ 220278 h 538647"/>
              <a:gd name="connsiteX274" fmla="*/ 64752 w 545883"/>
              <a:gd name="connsiteY274" fmla="*/ 220278 h 538647"/>
              <a:gd name="connsiteX275" fmla="*/ 43414 w 545883"/>
              <a:gd name="connsiteY275" fmla="*/ 198981 h 538647"/>
              <a:gd name="connsiteX276" fmla="*/ 43414 w 545883"/>
              <a:gd name="connsiteY276" fmla="*/ 155157 h 538647"/>
              <a:gd name="connsiteX277" fmla="*/ 64752 w 545883"/>
              <a:gd name="connsiteY277" fmla="*/ 133860 h 538647"/>
              <a:gd name="connsiteX278" fmla="*/ 32811 w 545883"/>
              <a:gd name="connsiteY278" fmla="*/ 43934 h 538647"/>
              <a:gd name="connsiteX279" fmla="*/ 14355 w 545883"/>
              <a:gd name="connsiteY279" fmla="*/ 62001 h 538647"/>
              <a:gd name="connsiteX280" fmla="*/ 14355 w 545883"/>
              <a:gd name="connsiteY280" fmla="*/ 103472 h 538647"/>
              <a:gd name="connsiteX281" fmla="*/ 399887 w 545883"/>
              <a:gd name="connsiteY281" fmla="*/ 103472 h 538647"/>
              <a:gd name="connsiteX282" fmla="*/ 399887 w 545883"/>
              <a:gd name="connsiteY282" fmla="*/ 62001 h 538647"/>
              <a:gd name="connsiteX283" fmla="*/ 381431 w 545883"/>
              <a:gd name="connsiteY283" fmla="*/ 43934 h 538647"/>
              <a:gd name="connsiteX284" fmla="*/ 353951 w 545883"/>
              <a:gd name="connsiteY284" fmla="*/ 43934 h 538647"/>
              <a:gd name="connsiteX285" fmla="*/ 353951 w 545883"/>
              <a:gd name="connsiteY285" fmla="*/ 52557 h 538647"/>
              <a:gd name="connsiteX286" fmla="*/ 333034 w 545883"/>
              <a:gd name="connsiteY286" fmla="*/ 73498 h 538647"/>
              <a:gd name="connsiteX287" fmla="*/ 312117 w 545883"/>
              <a:gd name="connsiteY287" fmla="*/ 52557 h 538647"/>
              <a:gd name="connsiteX288" fmla="*/ 312117 w 545883"/>
              <a:gd name="connsiteY288" fmla="*/ 43934 h 538647"/>
              <a:gd name="connsiteX289" fmla="*/ 102125 w 545883"/>
              <a:gd name="connsiteY289" fmla="*/ 43934 h 538647"/>
              <a:gd name="connsiteX290" fmla="*/ 102125 w 545883"/>
              <a:gd name="connsiteY290" fmla="*/ 52557 h 538647"/>
              <a:gd name="connsiteX291" fmla="*/ 81208 w 545883"/>
              <a:gd name="connsiteY291" fmla="*/ 73498 h 538647"/>
              <a:gd name="connsiteX292" fmla="*/ 60291 w 545883"/>
              <a:gd name="connsiteY292" fmla="*/ 52557 h 538647"/>
              <a:gd name="connsiteX293" fmla="*/ 60291 w 545883"/>
              <a:gd name="connsiteY293" fmla="*/ 43934 h 538647"/>
              <a:gd name="connsiteX294" fmla="*/ 333034 w 545883"/>
              <a:gd name="connsiteY294" fmla="*/ 13960 h 538647"/>
              <a:gd name="connsiteX295" fmla="*/ 326472 w 545883"/>
              <a:gd name="connsiteY295" fmla="*/ 20941 h 538647"/>
              <a:gd name="connsiteX296" fmla="*/ 326472 w 545883"/>
              <a:gd name="connsiteY296" fmla="*/ 52557 h 538647"/>
              <a:gd name="connsiteX297" fmla="*/ 333034 w 545883"/>
              <a:gd name="connsiteY297" fmla="*/ 59127 h 538647"/>
              <a:gd name="connsiteX298" fmla="*/ 339596 w 545883"/>
              <a:gd name="connsiteY298" fmla="*/ 52557 h 538647"/>
              <a:gd name="connsiteX299" fmla="*/ 339596 w 545883"/>
              <a:gd name="connsiteY299" fmla="*/ 20941 h 538647"/>
              <a:gd name="connsiteX300" fmla="*/ 333034 w 545883"/>
              <a:gd name="connsiteY300" fmla="*/ 13960 h 538647"/>
              <a:gd name="connsiteX301" fmla="*/ 81208 w 545883"/>
              <a:gd name="connsiteY301" fmla="*/ 13960 h 538647"/>
              <a:gd name="connsiteX302" fmla="*/ 74646 w 545883"/>
              <a:gd name="connsiteY302" fmla="*/ 20941 h 538647"/>
              <a:gd name="connsiteX303" fmla="*/ 74646 w 545883"/>
              <a:gd name="connsiteY303" fmla="*/ 52557 h 538647"/>
              <a:gd name="connsiteX304" fmla="*/ 81208 w 545883"/>
              <a:gd name="connsiteY304" fmla="*/ 59127 h 538647"/>
              <a:gd name="connsiteX305" fmla="*/ 88180 w 545883"/>
              <a:gd name="connsiteY305" fmla="*/ 52557 h 538647"/>
              <a:gd name="connsiteX306" fmla="*/ 88180 w 545883"/>
              <a:gd name="connsiteY306" fmla="*/ 20941 h 538647"/>
              <a:gd name="connsiteX307" fmla="*/ 81208 w 545883"/>
              <a:gd name="connsiteY307" fmla="*/ 13960 h 538647"/>
              <a:gd name="connsiteX308" fmla="*/ 81208 w 545883"/>
              <a:gd name="connsiteY308" fmla="*/ 0 h 538647"/>
              <a:gd name="connsiteX309" fmla="*/ 102125 w 545883"/>
              <a:gd name="connsiteY309" fmla="*/ 20941 h 538647"/>
              <a:gd name="connsiteX310" fmla="*/ 102125 w 545883"/>
              <a:gd name="connsiteY310" fmla="*/ 29153 h 538647"/>
              <a:gd name="connsiteX311" fmla="*/ 312117 w 545883"/>
              <a:gd name="connsiteY311" fmla="*/ 29153 h 538647"/>
              <a:gd name="connsiteX312" fmla="*/ 312117 w 545883"/>
              <a:gd name="connsiteY312" fmla="*/ 20941 h 538647"/>
              <a:gd name="connsiteX313" fmla="*/ 333034 w 545883"/>
              <a:gd name="connsiteY313" fmla="*/ 0 h 538647"/>
              <a:gd name="connsiteX314" fmla="*/ 353951 w 545883"/>
              <a:gd name="connsiteY314" fmla="*/ 20941 h 538647"/>
              <a:gd name="connsiteX315" fmla="*/ 353951 w 545883"/>
              <a:gd name="connsiteY315" fmla="*/ 29153 h 538647"/>
              <a:gd name="connsiteX316" fmla="*/ 381431 w 545883"/>
              <a:gd name="connsiteY316" fmla="*/ 29153 h 538647"/>
              <a:gd name="connsiteX317" fmla="*/ 413832 w 545883"/>
              <a:gd name="connsiteY317" fmla="*/ 62001 h 538647"/>
              <a:gd name="connsiteX318" fmla="*/ 413832 w 545883"/>
              <a:gd name="connsiteY318" fmla="*/ 322734 h 538647"/>
              <a:gd name="connsiteX319" fmla="*/ 406859 w 545883"/>
              <a:gd name="connsiteY319" fmla="*/ 330125 h 538647"/>
              <a:gd name="connsiteX320" fmla="*/ 399887 w 545883"/>
              <a:gd name="connsiteY320" fmla="*/ 322734 h 538647"/>
              <a:gd name="connsiteX321" fmla="*/ 399887 w 545883"/>
              <a:gd name="connsiteY321" fmla="*/ 118253 h 538647"/>
              <a:gd name="connsiteX322" fmla="*/ 14355 w 545883"/>
              <a:gd name="connsiteY322" fmla="*/ 118253 h 538647"/>
              <a:gd name="connsiteX323" fmla="*/ 14355 w 545883"/>
              <a:gd name="connsiteY323" fmla="*/ 426206 h 538647"/>
              <a:gd name="connsiteX324" fmla="*/ 32811 w 545883"/>
              <a:gd name="connsiteY324" fmla="*/ 444684 h 538647"/>
              <a:gd name="connsiteX325" fmla="*/ 319499 w 545883"/>
              <a:gd name="connsiteY325" fmla="*/ 444684 h 538647"/>
              <a:gd name="connsiteX326" fmla="*/ 326472 w 545883"/>
              <a:gd name="connsiteY326" fmla="*/ 451664 h 538647"/>
              <a:gd name="connsiteX327" fmla="*/ 319499 w 545883"/>
              <a:gd name="connsiteY327" fmla="*/ 459055 h 538647"/>
              <a:gd name="connsiteX328" fmla="*/ 32811 w 545883"/>
              <a:gd name="connsiteY328" fmla="*/ 459055 h 538647"/>
              <a:gd name="connsiteX329" fmla="*/ 0 w 545883"/>
              <a:gd name="connsiteY329" fmla="*/ 426206 h 538647"/>
              <a:gd name="connsiteX330" fmla="*/ 0 w 545883"/>
              <a:gd name="connsiteY330" fmla="*/ 62001 h 538647"/>
              <a:gd name="connsiteX331" fmla="*/ 32811 w 545883"/>
              <a:gd name="connsiteY331" fmla="*/ 29153 h 538647"/>
              <a:gd name="connsiteX332" fmla="*/ 60291 w 545883"/>
              <a:gd name="connsiteY332" fmla="*/ 29153 h 538647"/>
              <a:gd name="connsiteX333" fmla="*/ 60291 w 545883"/>
              <a:gd name="connsiteY333" fmla="*/ 20941 h 538647"/>
              <a:gd name="connsiteX334" fmla="*/ 81208 w 545883"/>
              <a:gd name="connsiteY334" fmla="*/ 0 h 53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</a:cxnLst>
            <a:rect l="l" t="t" r="r" b="b"/>
            <a:pathLst>
              <a:path w="545883" h="538647">
                <a:moveTo>
                  <a:pt x="235485" y="393071"/>
                </a:moveTo>
                <a:lnTo>
                  <a:pt x="216729" y="412230"/>
                </a:lnTo>
                <a:lnTo>
                  <a:pt x="228146" y="412230"/>
                </a:lnTo>
                <a:cubicBezTo>
                  <a:pt x="232223" y="412230"/>
                  <a:pt x="235485" y="408969"/>
                  <a:pt x="235485" y="404893"/>
                </a:cubicBezTo>
                <a:close/>
                <a:moveTo>
                  <a:pt x="442901" y="392534"/>
                </a:moveTo>
                <a:cubicBezTo>
                  <a:pt x="446581" y="392534"/>
                  <a:pt x="449853" y="395776"/>
                  <a:pt x="449853" y="399828"/>
                </a:cubicBezTo>
                <a:lnTo>
                  <a:pt x="449853" y="428597"/>
                </a:lnTo>
                <a:lnTo>
                  <a:pt x="475619" y="428597"/>
                </a:lnTo>
                <a:cubicBezTo>
                  <a:pt x="479708" y="428597"/>
                  <a:pt x="482571" y="431839"/>
                  <a:pt x="482571" y="435485"/>
                </a:cubicBezTo>
                <a:cubicBezTo>
                  <a:pt x="482571" y="439537"/>
                  <a:pt x="479708" y="442779"/>
                  <a:pt x="475619" y="442779"/>
                </a:cubicBezTo>
                <a:lnTo>
                  <a:pt x="442901" y="442779"/>
                </a:lnTo>
                <a:cubicBezTo>
                  <a:pt x="438811" y="442779"/>
                  <a:pt x="435948" y="439537"/>
                  <a:pt x="435948" y="435485"/>
                </a:cubicBezTo>
                <a:lnTo>
                  <a:pt x="435948" y="399828"/>
                </a:lnTo>
                <a:cubicBezTo>
                  <a:pt x="435948" y="395776"/>
                  <a:pt x="438811" y="392534"/>
                  <a:pt x="442901" y="392534"/>
                </a:cubicBezTo>
                <a:close/>
                <a:moveTo>
                  <a:pt x="444089" y="385180"/>
                </a:moveTo>
                <a:cubicBezTo>
                  <a:pt x="415382" y="385180"/>
                  <a:pt x="392416" y="408146"/>
                  <a:pt x="392416" y="436443"/>
                </a:cubicBezTo>
                <a:cubicBezTo>
                  <a:pt x="392416" y="465149"/>
                  <a:pt x="415382" y="488115"/>
                  <a:pt x="444089" y="488115"/>
                </a:cubicBezTo>
                <a:cubicBezTo>
                  <a:pt x="472385" y="488115"/>
                  <a:pt x="495351" y="465149"/>
                  <a:pt x="495351" y="436443"/>
                </a:cubicBezTo>
                <a:cubicBezTo>
                  <a:pt x="495351" y="408146"/>
                  <a:pt x="472385" y="385180"/>
                  <a:pt x="444089" y="385180"/>
                </a:cubicBezTo>
                <a:close/>
                <a:moveTo>
                  <a:pt x="444089" y="370827"/>
                </a:moveTo>
                <a:cubicBezTo>
                  <a:pt x="480177" y="370827"/>
                  <a:pt x="509704" y="400764"/>
                  <a:pt x="509704" y="436443"/>
                </a:cubicBezTo>
                <a:cubicBezTo>
                  <a:pt x="509704" y="472941"/>
                  <a:pt x="480177" y="502468"/>
                  <a:pt x="444089" y="502468"/>
                </a:cubicBezTo>
                <a:cubicBezTo>
                  <a:pt x="407590" y="502468"/>
                  <a:pt x="378063" y="472941"/>
                  <a:pt x="378063" y="436443"/>
                </a:cubicBezTo>
                <a:cubicBezTo>
                  <a:pt x="378063" y="400764"/>
                  <a:pt x="407590" y="370827"/>
                  <a:pt x="444089" y="370827"/>
                </a:cubicBezTo>
                <a:close/>
                <a:moveTo>
                  <a:pt x="231000" y="359236"/>
                </a:moveTo>
                <a:cubicBezTo>
                  <a:pt x="230184" y="359644"/>
                  <a:pt x="229369" y="360459"/>
                  <a:pt x="228961" y="360459"/>
                </a:cubicBezTo>
                <a:lnTo>
                  <a:pt x="204904" y="384918"/>
                </a:lnTo>
                <a:cubicBezTo>
                  <a:pt x="202458" y="386956"/>
                  <a:pt x="199603" y="388179"/>
                  <a:pt x="196749" y="388179"/>
                </a:cubicBezTo>
                <a:cubicBezTo>
                  <a:pt x="193487" y="388179"/>
                  <a:pt x="190633" y="386956"/>
                  <a:pt x="188594" y="384918"/>
                </a:cubicBezTo>
                <a:lnTo>
                  <a:pt x="182886" y="379210"/>
                </a:lnTo>
                <a:cubicBezTo>
                  <a:pt x="182070" y="378803"/>
                  <a:pt x="181663" y="378395"/>
                  <a:pt x="180439" y="377988"/>
                </a:cubicBezTo>
                <a:cubicBezTo>
                  <a:pt x="180032" y="377580"/>
                  <a:pt x="179624" y="377580"/>
                  <a:pt x="179216" y="377580"/>
                </a:cubicBezTo>
                <a:cubicBezTo>
                  <a:pt x="178808" y="377580"/>
                  <a:pt x="178401" y="377580"/>
                  <a:pt x="177993" y="377580"/>
                </a:cubicBezTo>
                <a:cubicBezTo>
                  <a:pt x="177585" y="377580"/>
                  <a:pt x="176770" y="377580"/>
                  <a:pt x="175954" y="377580"/>
                </a:cubicBezTo>
                <a:lnTo>
                  <a:pt x="175546" y="377580"/>
                </a:lnTo>
                <a:cubicBezTo>
                  <a:pt x="175139" y="377988"/>
                  <a:pt x="174731" y="378395"/>
                  <a:pt x="173916" y="378803"/>
                </a:cubicBezTo>
                <a:cubicBezTo>
                  <a:pt x="173508" y="378803"/>
                  <a:pt x="173508" y="378803"/>
                  <a:pt x="173508" y="379210"/>
                </a:cubicBezTo>
                <a:lnTo>
                  <a:pt x="173100" y="379618"/>
                </a:lnTo>
                <a:cubicBezTo>
                  <a:pt x="170654" y="382064"/>
                  <a:pt x="170654" y="386140"/>
                  <a:pt x="173508" y="388994"/>
                </a:cubicBezTo>
                <a:lnTo>
                  <a:pt x="189002" y="404485"/>
                </a:lnTo>
                <a:cubicBezTo>
                  <a:pt x="192264" y="407746"/>
                  <a:pt x="197565" y="408561"/>
                  <a:pt x="201234" y="406523"/>
                </a:cubicBezTo>
                <a:cubicBezTo>
                  <a:pt x="202458" y="406115"/>
                  <a:pt x="203681" y="405300"/>
                  <a:pt x="204496" y="404485"/>
                </a:cubicBezTo>
                <a:lnTo>
                  <a:pt x="230592" y="377580"/>
                </a:lnTo>
                <a:lnTo>
                  <a:pt x="238339" y="370242"/>
                </a:lnTo>
                <a:cubicBezTo>
                  <a:pt x="239563" y="369019"/>
                  <a:pt x="240378" y="367389"/>
                  <a:pt x="240378" y="365351"/>
                </a:cubicBezTo>
                <a:cubicBezTo>
                  <a:pt x="240378" y="363720"/>
                  <a:pt x="239563" y="362089"/>
                  <a:pt x="238339" y="360459"/>
                </a:cubicBezTo>
                <a:cubicBezTo>
                  <a:pt x="237524" y="360459"/>
                  <a:pt x="237116" y="359644"/>
                  <a:pt x="236301" y="359236"/>
                </a:cubicBezTo>
                <a:cubicBezTo>
                  <a:pt x="235893" y="359236"/>
                  <a:pt x="235893" y="359236"/>
                  <a:pt x="235485" y="359236"/>
                </a:cubicBezTo>
                <a:cubicBezTo>
                  <a:pt x="235077" y="359236"/>
                  <a:pt x="234262" y="359236"/>
                  <a:pt x="233854" y="359236"/>
                </a:cubicBezTo>
                <a:lnTo>
                  <a:pt x="233446" y="359236"/>
                </a:lnTo>
                <a:cubicBezTo>
                  <a:pt x="232631" y="359236"/>
                  <a:pt x="231815" y="359236"/>
                  <a:pt x="231408" y="359236"/>
                </a:cubicBezTo>
                <a:cubicBezTo>
                  <a:pt x="231000" y="359236"/>
                  <a:pt x="231000" y="359236"/>
                  <a:pt x="231000" y="359236"/>
                </a:cubicBezTo>
                <a:close/>
                <a:moveTo>
                  <a:pt x="182886" y="354344"/>
                </a:moveTo>
                <a:cubicBezTo>
                  <a:pt x="179216" y="354344"/>
                  <a:pt x="175954" y="357605"/>
                  <a:pt x="175954" y="361274"/>
                </a:cubicBezTo>
                <a:lnTo>
                  <a:pt x="175954" y="363312"/>
                </a:lnTo>
                <a:cubicBezTo>
                  <a:pt x="176362" y="363312"/>
                  <a:pt x="176362" y="363312"/>
                  <a:pt x="176770" y="363312"/>
                </a:cubicBezTo>
                <a:cubicBezTo>
                  <a:pt x="177585" y="363312"/>
                  <a:pt x="178808" y="363312"/>
                  <a:pt x="180032" y="363312"/>
                </a:cubicBezTo>
                <a:cubicBezTo>
                  <a:pt x="180439" y="363312"/>
                  <a:pt x="180439" y="363312"/>
                  <a:pt x="180847" y="363312"/>
                </a:cubicBezTo>
                <a:cubicBezTo>
                  <a:pt x="182070" y="363720"/>
                  <a:pt x="182886" y="363720"/>
                  <a:pt x="184109" y="364128"/>
                </a:cubicBezTo>
                <a:cubicBezTo>
                  <a:pt x="184517" y="364535"/>
                  <a:pt x="184925" y="364535"/>
                  <a:pt x="184925" y="364535"/>
                </a:cubicBezTo>
                <a:cubicBezTo>
                  <a:pt x="186148" y="364943"/>
                  <a:pt x="187371" y="365351"/>
                  <a:pt x="188187" y="366166"/>
                </a:cubicBezTo>
                <a:cubicBezTo>
                  <a:pt x="188594" y="366166"/>
                  <a:pt x="188594" y="366166"/>
                  <a:pt x="189410" y="366166"/>
                </a:cubicBezTo>
                <a:cubicBezTo>
                  <a:pt x="190633" y="367389"/>
                  <a:pt x="191449" y="368204"/>
                  <a:pt x="192672" y="369427"/>
                </a:cubicBezTo>
                <a:lnTo>
                  <a:pt x="196749" y="373096"/>
                </a:lnTo>
                <a:lnTo>
                  <a:pt x="215098" y="354344"/>
                </a:lnTo>
                <a:close/>
                <a:moveTo>
                  <a:pt x="64752" y="354344"/>
                </a:moveTo>
                <a:cubicBezTo>
                  <a:pt x="60649" y="354344"/>
                  <a:pt x="57776" y="357605"/>
                  <a:pt x="57776" y="361274"/>
                </a:cubicBezTo>
                <a:lnTo>
                  <a:pt x="57776" y="404893"/>
                </a:lnTo>
                <a:cubicBezTo>
                  <a:pt x="57776" y="408969"/>
                  <a:pt x="60649" y="412230"/>
                  <a:pt x="64752" y="412230"/>
                </a:cubicBezTo>
                <a:lnTo>
                  <a:pt x="110301" y="412230"/>
                </a:lnTo>
                <a:cubicBezTo>
                  <a:pt x="113994" y="412230"/>
                  <a:pt x="117277" y="408969"/>
                  <a:pt x="117277" y="404893"/>
                </a:cubicBezTo>
                <a:lnTo>
                  <a:pt x="117277" y="361274"/>
                </a:lnTo>
                <a:cubicBezTo>
                  <a:pt x="117277" y="357605"/>
                  <a:pt x="113994" y="354344"/>
                  <a:pt x="110301" y="354344"/>
                </a:cubicBezTo>
                <a:close/>
                <a:moveTo>
                  <a:pt x="301779" y="340077"/>
                </a:moveTo>
                <a:lnTo>
                  <a:pt x="347457" y="340077"/>
                </a:lnTo>
                <a:cubicBezTo>
                  <a:pt x="354041" y="340077"/>
                  <a:pt x="360213" y="342930"/>
                  <a:pt x="364328" y="348637"/>
                </a:cubicBezTo>
                <a:cubicBezTo>
                  <a:pt x="366797" y="351491"/>
                  <a:pt x="365974" y="355567"/>
                  <a:pt x="362682" y="358013"/>
                </a:cubicBezTo>
                <a:cubicBezTo>
                  <a:pt x="359802" y="360459"/>
                  <a:pt x="355275" y="360459"/>
                  <a:pt x="352806" y="356790"/>
                </a:cubicBezTo>
                <a:cubicBezTo>
                  <a:pt x="351572" y="355160"/>
                  <a:pt x="349514" y="354344"/>
                  <a:pt x="347457" y="354344"/>
                </a:cubicBezTo>
                <a:lnTo>
                  <a:pt x="301779" y="354344"/>
                </a:lnTo>
                <a:cubicBezTo>
                  <a:pt x="297664" y="354344"/>
                  <a:pt x="294372" y="357605"/>
                  <a:pt x="294372" y="361274"/>
                </a:cubicBezTo>
                <a:lnTo>
                  <a:pt x="294372" y="404893"/>
                </a:lnTo>
                <a:cubicBezTo>
                  <a:pt x="294372" y="408969"/>
                  <a:pt x="297664" y="412230"/>
                  <a:pt x="301779" y="412230"/>
                </a:cubicBezTo>
                <a:lnTo>
                  <a:pt x="326058" y="412230"/>
                </a:lnTo>
                <a:cubicBezTo>
                  <a:pt x="329762" y="412230"/>
                  <a:pt x="333054" y="415084"/>
                  <a:pt x="333054" y="419160"/>
                </a:cubicBezTo>
                <a:cubicBezTo>
                  <a:pt x="333054" y="422829"/>
                  <a:pt x="329762" y="426498"/>
                  <a:pt x="326058" y="426498"/>
                </a:cubicBezTo>
                <a:lnTo>
                  <a:pt x="301779" y="426498"/>
                </a:lnTo>
                <a:cubicBezTo>
                  <a:pt x="289846" y="426498"/>
                  <a:pt x="280381" y="416714"/>
                  <a:pt x="280381" y="404893"/>
                </a:cubicBezTo>
                <a:lnTo>
                  <a:pt x="280381" y="361274"/>
                </a:lnTo>
                <a:cubicBezTo>
                  <a:pt x="280381" y="349860"/>
                  <a:pt x="289846" y="340077"/>
                  <a:pt x="301779" y="340077"/>
                </a:cubicBezTo>
                <a:close/>
                <a:moveTo>
                  <a:pt x="182886" y="340077"/>
                </a:moveTo>
                <a:lnTo>
                  <a:pt x="228146" y="340077"/>
                </a:lnTo>
                <a:cubicBezTo>
                  <a:pt x="234670" y="340077"/>
                  <a:pt x="240786" y="342930"/>
                  <a:pt x="244863" y="347822"/>
                </a:cubicBezTo>
                <a:cubicBezTo>
                  <a:pt x="246087" y="348637"/>
                  <a:pt x="247310" y="349453"/>
                  <a:pt x="248533" y="350675"/>
                </a:cubicBezTo>
                <a:cubicBezTo>
                  <a:pt x="252203" y="354344"/>
                  <a:pt x="254649" y="359644"/>
                  <a:pt x="254649" y="365351"/>
                </a:cubicBezTo>
                <a:cubicBezTo>
                  <a:pt x="254649" y="370242"/>
                  <a:pt x="252610" y="374726"/>
                  <a:pt x="249756" y="378803"/>
                </a:cubicBezTo>
                <a:lnTo>
                  <a:pt x="249756" y="404893"/>
                </a:lnTo>
                <a:cubicBezTo>
                  <a:pt x="249756" y="416714"/>
                  <a:pt x="239970" y="426498"/>
                  <a:pt x="228146" y="426498"/>
                </a:cubicBezTo>
                <a:lnTo>
                  <a:pt x="182886" y="426498"/>
                </a:lnTo>
                <a:cubicBezTo>
                  <a:pt x="171469" y="426498"/>
                  <a:pt x="161683" y="416714"/>
                  <a:pt x="161683" y="404893"/>
                </a:cubicBezTo>
                <a:lnTo>
                  <a:pt x="161683" y="397147"/>
                </a:lnTo>
                <a:cubicBezTo>
                  <a:pt x="155567" y="389402"/>
                  <a:pt x="155567" y="378803"/>
                  <a:pt x="161683" y="371058"/>
                </a:cubicBezTo>
                <a:lnTo>
                  <a:pt x="161683" y="361274"/>
                </a:lnTo>
                <a:cubicBezTo>
                  <a:pt x="161683" y="349860"/>
                  <a:pt x="171469" y="340077"/>
                  <a:pt x="182886" y="340077"/>
                </a:cubicBezTo>
                <a:close/>
                <a:moveTo>
                  <a:pt x="64752" y="340077"/>
                </a:moveTo>
                <a:lnTo>
                  <a:pt x="110301" y="340077"/>
                </a:lnTo>
                <a:cubicBezTo>
                  <a:pt x="122201" y="340077"/>
                  <a:pt x="131640" y="349860"/>
                  <a:pt x="131640" y="361274"/>
                </a:cubicBezTo>
                <a:lnTo>
                  <a:pt x="131640" y="404893"/>
                </a:lnTo>
                <a:cubicBezTo>
                  <a:pt x="131640" y="416714"/>
                  <a:pt x="122201" y="426498"/>
                  <a:pt x="110301" y="426498"/>
                </a:cubicBezTo>
                <a:lnTo>
                  <a:pt x="64752" y="426498"/>
                </a:lnTo>
                <a:cubicBezTo>
                  <a:pt x="52852" y="426498"/>
                  <a:pt x="43414" y="416714"/>
                  <a:pt x="43414" y="404893"/>
                </a:cubicBezTo>
                <a:lnTo>
                  <a:pt x="43414" y="361274"/>
                </a:lnTo>
                <a:cubicBezTo>
                  <a:pt x="43414" y="349860"/>
                  <a:pt x="52852" y="340077"/>
                  <a:pt x="64752" y="340077"/>
                </a:cubicBezTo>
                <a:close/>
                <a:moveTo>
                  <a:pt x="443540" y="332841"/>
                </a:moveTo>
                <a:cubicBezTo>
                  <a:pt x="500033" y="332841"/>
                  <a:pt x="545883" y="378849"/>
                  <a:pt x="545883" y="435539"/>
                </a:cubicBezTo>
                <a:cubicBezTo>
                  <a:pt x="545883" y="492228"/>
                  <a:pt x="500033" y="538647"/>
                  <a:pt x="443540" y="538647"/>
                </a:cubicBezTo>
                <a:cubicBezTo>
                  <a:pt x="389503" y="538647"/>
                  <a:pt x="344882" y="496747"/>
                  <a:pt x="341198" y="442933"/>
                </a:cubicBezTo>
                <a:cubicBezTo>
                  <a:pt x="340788" y="438825"/>
                  <a:pt x="343654" y="435539"/>
                  <a:pt x="347748" y="435128"/>
                </a:cubicBezTo>
                <a:cubicBezTo>
                  <a:pt x="351841" y="435128"/>
                  <a:pt x="355116" y="438004"/>
                  <a:pt x="355526" y="442112"/>
                </a:cubicBezTo>
                <a:cubicBezTo>
                  <a:pt x="358391" y="488120"/>
                  <a:pt x="397281" y="524270"/>
                  <a:pt x="443540" y="524270"/>
                </a:cubicBezTo>
                <a:cubicBezTo>
                  <a:pt x="491846" y="524270"/>
                  <a:pt x="531145" y="484834"/>
                  <a:pt x="531145" y="435539"/>
                </a:cubicBezTo>
                <a:cubicBezTo>
                  <a:pt x="531145" y="387065"/>
                  <a:pt x="491846" y="347218"/>
                  <a:pt x="443540" y="347218"/>
                </a:cubicBezTo>
                <a:cubicBezTo>
                  <a:pt x="411200" y="347218"/>
                  <a:pt x="382954" y="364061"/>
                  <a:pt x="366988" y="390762"/>
                </a:cubicBezTo>
                <a:lnTo>
                  <a:pt x="373947" y="386654"/>
                </a:lnTo>
                <a:cubicBezTo>
                  <a:pt x="377222" y="384600"/>
                  <a:pt x="381316" y="385422"/>
                  <a:pt x="383363" y="388708"/>
                </a:cubicBezTo>
                <a:cubicBezTo>
                  <a:pt x="385819" y="391995"/>
                  <a:pt x="384591" y="396514"/>
                  <a:pt x="381316" y="398568"/>
                </a:cubicBezTo>
                <a:lnTo>
                  <a:pt x="355116" y="414999"/>
                </a:lnTo>
                <a:cubicBezTo>
                  <a:pt x="354298" y="415821"/>
                  <a:pt x="352660" y="416232"/>
                  <a:pt x="351432" y="416232"/>
                </a:cubicBezTo>
                <a:cubicBezTo>
                  <a:pt x="350613" y="416232"/>
                  <a:pt x="349795" y="416232"/>
                  <a:pt x="348976" y="415821"/>
                </a:cubicBezTo>
                <a:cubicBezTo>
                  <a:pt x="346929" y="414999"/>
                  <a:pt x="345292" y="413356"/>
                  <a:pt x="344882" y="411302"/>
                </a:cubicBezTo>
                <a:lnTo>
                  <a:pt x="335467" y="382546"/>
                </a:lnTo>
                <a:cubicBezTo>
                  <a:pt x="334648" y="378849"/>
                  <a:pt x="336695" y="374741"/>
                  <a:pt x="340379" y="373509"/>
                </a:cubicBezTo>
                <a:cubicBezTo>
                  <a:pt x="344063" y="372277"/>
                  <a:pt x="348157" y="374331"/>
                  <a:pt x="349385" y="378028"/>
                </a:cubicBezTo>
                <a:lnTo>
                  <a:pt x="352251" y="388298"/>
                </a:lnTo>
                <a:cubicBezTo>
                  <a:pt x="369444" y="354202"/>
                  <a:pt x="404241" y="332841"/>
                  <a:pt x="443540" y="332841"/>
                </a:cubicBezTo>
                <a:close/>
                <a:moveTo>
                  <a:pt x="117905" y="289960"/>
                </a:moveTo>
                <a:lnTo>
                  <a:pt x="99148" y="309120"/>
                </a:lnTo>
                <a:lnTo>
                  <a:pt x="110973" y="309120"/>
                </a:lnTo>
                <a:cubicBezTo>
                  <a:pt x="114643" y="309120"/>
                  <a:pt x="117905" y="305858"/>
                  <a:pt x="117905" y="302190"/>
                </a:cubicBezTo>
                <a:close/>
                <a:moveTo>
                  <a:pt x="115458" y="255718"/>
                </a:moveTo>
                <a:cubicBezTo>
                  <a:pt x="115051" y="256126"/>
                  <a:pt x="114643" y="256126"/>
                  <a:pt x="114235" y="256126"/>
                </a:cubicBezTo>
                <a:cubicBezTo>
                  <a:pt x="113827" y="256126"/>
                  <a:pt x="113420" y="256126"/>
                  <a:pt x="113420" y="256126"/>
                </a:cubicBezTo>
                <a:cubicBezTo>
                  <a:pt x="112604" y="256534"/>
                  <a:pt x="112196" y="257349"/>
                  <a:pt x="111381" y="257349"/>
                </a:cubicBezTo>
                <a:cubicBezTo>
                  <a:pt x="111381" y="257349"/>
                  <a:pt x="110973" y="257349"/>
                  <a:pt x="110973" y="257757"/>
                </a:cubicBezTo>
                <a:lnTo>
                  <a:pt x="87324" y="281808"/>
                </a:lnTo>
                <a:cubicBezTo>
                  <a:pt x="82838" y="286292"/>
                  <a:pt x="75499" y="286292"/>
                  <a:pt x="71014" y="281808"/>
                </a:cubicBezTo>
                <a:lnTo>
                  <a:pt x="65305" y="276508"/>
                </a:lnTo>
                <a:cubicBezTo>
                  <a:pt x="64490" y="275693"/>
                  <a:pt x="63674" y="275285"/>
                  <a:pt x="63266" y="274878"/>
                </a:cubicBezTo>
                <a:cubicBezTo>
                  <a:pt x="62451" y="274878"/>
                  <a:pt x="62043" y="274878"/>
                  <a:pt x="61228" y="274470"/>
                </a:cubicBezTo>
                <a:cubicBezTo>
                  <a:pt x="61228" y="274470"/>
                  <a:pt x="61228" y="274470"/>
                  <a:pt x="60820" y="274470"/>
                </a:cubicBezTo>
                <a:cubicBezTo>
                  <a:pt x="60004" y="274470"/>
                  <a:pt x="59189" y="274470"/>
                  <a:pt x="58373" y="274878"/>
                </a:cubicBezTo>
                <a:cubicBezTo>
                  <a:pt x="57558" y="274878"/>
                  <a:pt x="56742" y="275285"/>
                  <a:pt x="56335" y="276100"/>
                </a:cubicBezTo>
                <a:cubicBezTo>
                  <a:pt x="56335" y="276100"/>
                  <a:pt x="56335" y="276100"/>
                  <a:pt x="55927" y="276100"/>
                </a:cubicBezTo>
                <a:lnTo>
                  <a:pt x="55519" y="276508"/>
                </a:lnTo>
                <a:cubicBezTo>
                  <a:pt x="53073" y="279362"/>
                  <a:pt x="53073" y="283438"/>
                  <a:pt x="55519" y="285884"/>
                </a:cubicBezTo>
                <a:lnTo>
                  <a:pt x="58373" y="288737"/>
                </a:lnTo>
                <a:lnTo>
                  <a:pt x="71421" y="301374"/>
                </a:lnTo>
                <a:cubicBezTo>
                  <a:pt x="72645" y="302597"/>
                  <a:pt x="73868" y="303413"/>
                  <a:pt x="75499" y="303820"/>
                </a:cubicBezTo>
                <a:cubicBezTo>
                  <a:pt x="79169" y="305043"/>
                  <a:pt x="84062" y="304636"/>
                  <a:pt x="86508" y="301374"/>
                </a:cubicBezTo>
                <a:lnTo>
                  <a:pt x="104449" y="283438"/>
                </a:lnTo>
                <a:lnTo>
                  <a:pt x="120759" y="267132"/>
                </a:lnTo>
                <a:cubicBezTo>
                  <a:pt x="121982" y="265909"/>
                  <a:pt x="122798" y="264279"/>
                  <a:pt x="122798" y="262241"/>
                </a:cubicBezTo>
                <a:cubicBezTo>
                  <a:pt x="122798" y="260610"/>
                  <a:pt x="121982" y="258979"/>
                  <a:pt x="120759" y="257757"/>
                </a:cubicBezTo>
                <a:cubicBezTo>
                  <a:pt x="120351" y="257349"/>
                  <a:pt x="119536" y="256941"/>
                  <a:pt x="119128" y="256534"/>
                </a:cubicBezTo>
                <a:cubicBezTo>
                  <a:pt x="118313" y="256126"/>
                  <a:pt x="117905" y="256126"/>
                  <a:pt x="117905" y="256126"/>
                </a:cubicBezTo>
                <a:cubicBezTo>
                  <a:pt x="117089" y="256126"/>
                  <a:pt x="116682" y="256126"/>
                  <a:pt x="116682" y="256126"/>
                </a:cubicBezTo>
                <a:cubicBezTo>
                  <a:pt x="116274" y="255718"/>
                  <a:pt x="115866" y="255718"/>
                  <a:pt x="115458" y="255718"/>
                </a:cubicBezTo>
                <a:close/>
                <a:moveTo>
                  <a:pt x="301819" y="251642"/>
                </a:moveTo>
                <a:cubicBezTo>
                  <a:pt x="297696" y="251642"/>
                  <a:pt x="294398" y="254495"/>
                  <a:pt x="294398" y="258572"/>
                </a:cubicBezTo>
                <a:lnTo>
                  <a:pt x="294398" y="302190"/>
                </a:lnTo>
                <a:cubicBezTo>
                  <a:pt x="294398" y="305858"/>
                  <a:pt x="297696" y="309120"/>
                  <a:pt x="301819" y="309120"/>
                </a:cubicBezTo>
                <a:lnTo>
                  <a:pt x="347581" y="309120"/>
                </a:lnTo>
                <a:cubicBezTo>
                  <a:pt x="351291" y="309120"/>
                  <a:pt x="354589" y="305858"/>
                  <a:pt x="354589" y="302190"/>
                </a:cubicBezTo>
                <a:lnTo>
                  <a:pt x="354589" y="258572"/>
                </a:lnTo>
                <a:cubicBezTo>
                  <a:pt x="354589" y="254495"/>
                  <a:pt x="351291" y="251642"/>
                  <a:pt x="347581" y="251642"/>
                </a:cubicBezTo>
                <a:close/>
                <a:moveTo>
                  <a:pt x="184043" y="251642"/>
                </a:moveTo>
                <a:cubicBezTo>
                  <a:pt x="180367" y="251642"/>
                  <a:pt x="177099" y="254495"/>
                  <a:pt x="177099" y="258572"/>
                </a:cubicBezTo>
                <a:lnTo>
                  <a:pt x="177099" y="302190"/>
                </a:lnTo>
                <a:cubicBezTo>
                  <a:pt x="177099" y="305858"/>
                  <a:pt x="180367" y="309120"/>
                  <a:pt x="184043" y="309120"/>
                </a:cubicBezTo>
                <a:lnTo>
                  <a:pt x="229382" y="309120"/>
                </a:lnTo>
                <a:cubicBezTo>
                  <a:pt x="233467" y="309120"/>
                  <a:pt x="236734" y="305858"/>
                  <a:pt x="236734" y="302190"/>
                </a:cubicBezTo>
                <a:lnTo>
                  <a:pt x="236734" y="258572"/>
                </a:lnTo>
                <a:cubicBezTo>
                  <a:pt x="236734" y="254495"/>
                  <a:pt x="233467" y="251642"/>
                  <a:pt x="229382" y="251642"/>
                </a:cubicBezTo>
                <a:close/>
                <a:moveTo>
                  <a:pt x="65713" y="251642"/>
                </a:moveTo>
                <a:cubicBezTo>
                  <a:pt x="61635" y="251642"/>
                  <a:pt x="58781" y="254495"/>
                  <a:pt x="58781" y="258572"/>
                </a:cubicBezTo>
                <a:lnTo>
                  <a:pt x="58781" y="260202"/>
                </a:lnTo>
                <a:cubicBezTo>
                  <a:pt x="60004" y="260202"/>
                  <a:pt x="61228" y="260202"/>
                  <a:pt x="62451" y="260202"/>
                </a:cubicBezTo>
                <a:cubicBezTo>
                  <a:pt x="62451" y="260610"/>
                  <a:pt x="63266" y="260610"/>
                  <a:pt x="63266" y="260610"/>
                </a:cubicBezTo>
                <a:cubicBezTo>
                  <a:pt x="64490" y="260610"/>
                  <a:pt x="65713" y="261018"/>
                  <a:pt x="66528" y="261018"/>
                </a:cubicBezTo>
                <a:cubicBezTo>
                  <a:pt x="66936" y="261425"/>
                  <a:pt x="67344" y="261425"/>
                  <a:pt x="67752" y="261425"/>
                </a:cubicBezTo>
                <a:cubicBezTo>
                  <a:pt x="68567" y="262241"/>
                  <a:pt x="69790" y="262241"/>
                  <a:pt x="70606" y="263056"/>
                </a:cubicBezTo>
                <a:cubicBezTo>
                  <a:pt x="71014" y="263056"/>
                  <a:pt x="71421" y="263056"/>
                  <a:pt x="71421" y="263464"/>
                </a:cubicBezTo>
                <a:cubicBezTo>
                  <a:pt x="72645" y="264279"/>
                  <a:pt x="73868" y="265094"/>
                  <a:pt x="75091" y="266317"/>
                </a:cubicBezTo>
                <a:lnTo>
                  <a:pt x="79169" y="270393"/>
                </a:lnTo>
                <a:lnTo>
                  <a:pt x="97517" y="251642"/>
                </a:lnTo>
                <a:close/>
                <a:moveTo>
                  <a:pt x="301819" y="236967"/>
                </a:moveTo>
                <a:lnTo>
                  <a:pt x="347581" y="236967"/>
                </a:lnTo>
                <a:cubicBezTo>
                  <a:pt x="359124" y="236967"/>
                  <a:pt x="368607" y="246750"/>
                  <a:pt x="368607" y="258572"/>
                </a:cubicBezTo>
                <a:lnTo>
                  <a:pt x="368607" y="302190"/>
                </a:lnTo>
                <a:cubicBezTo>
                  <a:pt x="368607" y="313604"/>
                  <a:pt x="359124" y="323387"/>
                  <a:pt x="347581" y="323387"/>
                </a:cubicBezTo>
                <a:lnTo>
                  <a:pt x="301819" y="323387"/>
                </a:lnTo>
                <a:cubicBezTo>
                  <a:pt x="289863" y="323387"/>
                  <a:pt x="280381" y="313604"/>
                  <a:pt x="280381" y="302190"/>
                </a:cubicBezTo>
                <a:lnTo>
                  <a:pt x="280381" y="258572"/>
                </a:lnTo>
                <a:cubicBezTo>
                  <a:pt x="280381" y="246750"/>
                  <a:pt x="289863" y="236967"/>
                  <a:pt x="301819" y="236967"/>
                </a:cubicBezTo>
                <a:close/>
                <a:moveTo>
                  <a:pt x="184043" y="236967"/>
                </a:moveTo>
                <a:lnTo>
                  <a:pt x="229382" y="236967"/>
                </a:lnTo>
                <a:cubicBezTo>
                  <a:pt x="241227" y="236967"/>
                  <a:pt x="251030" y="246750"/>
                  <a:pt x="251030" y="258572"/>
                </a:cubicBezTo>
                <a:lnTo>
                  <a:pt x="251030" y="302190"/>
                </a:lnTo>
                <a:cubicBezTo>
                  <a:pt x="251030" y="313604"/>
                  <a:pt x="241227" y="323387"/>
                  <a:pt x="229382" y="323387"/>
                </a:cubicBezTo>
                <a:lnTo>
                  <a:pt x="184043" y="323387"/>
                </a:lnTo>
                <a:cubicBezTo>
                  <a:pt x="172606" y="323387"/>
                  <a:pt x="162803" y="313604"/>
                  <a:pt x="162803" y="302190"/>
                </a:cubicBezTo>
                <a:lnTo>
                  <a:pt x="162803" y="258572"/>
                </a:lnTo>
                <a:cubicBezTo>
                  <a:pt x="162803" y="246750"/>
                  <a:pt x="172606" y="236967"/>
                  <a:pt x="184043" y="236967"/>
                </a:cubicBezTo>
                <a:close/>
                <a:moveTo>
                  <a:pt x="65713" y="236967"/>
                </a:moveTo>
                <a:lnTo>
                  <a:pt x="110973" y="236967"/>
                </a:lnTo>
                <a:cubicBezTo>
                  <a:pt x="117089" y="236967"/>
                  <a:pt x="123206" y="240228"/>
                  <a:pt x="127283" y="244712"/>
                </a:cubicBezTo>
                <a:cubicBezTo>
                  <a:pt x="128506" y="245935"/>
                  <a:pt x="129730" y="246750"/>
                  <a:pt x="130953" y="247565"/>
                </a:cubicBezTo>
                <a:cubicBezTo>
                  <a:pt x="134623" y="251642"/>
                  <a:pt x="137069" y="256941"/>
                  <a:pt x="137069" y="262241"/>
                </a:cubicBezTo>
                <a:cubicBezTo>
                  <a:pt x="137069" y="267132"/>
                  <a:pt x="135438" y="271616"/>
                  <a:pt x="132176" y="275693"/>
                </a:cubicBezTo>
                <a:lnTo>
                  <a:pt x="132176" y="302190"/>
                </a:lnTo>
                <a:cubicBezTo>
                  <a:pt x="132176" y="313604"/>
                  <a:pt x="122798" y="323387"/>
                  <a:pt x="110973" y="323387"/>
                </a:cubicBezTo>
                <a:lnTo>
                  <a:pt x="65713" y="323387"/>
                </a:lnTo>
                <a:cubicBezTo>
                  <a:pt x="53888" y="323387"/>
                  <a:pt x="44510" y="313604"/>
                  <a:pt x="44510" y="302190"/>
                </a:cubicBezTo>
                <a:lnTo>
                  <a:pt x="44510" y="294444"/>
                </a:lnTo>
                <a:cubicBezTo>
                  <a:pt x="37986" y="286292"/>
                  <a:pt x="37986" y="275693"/>
                  <a:pt x="44510" y="267948"/>
                </a:cubicBezTo>
                <a:lnTo>
                  <a:pt x="44510" y="258572"/>
                </a:lnTo>
                <a:cubicBezTo>
                  <a:pt x="44510" y="246750"/>
                  <a:pt x="53888" y="236967"/>
                  <a:pt x="65713" y="236967"/>
                </a:cubicBezTo>
                <a:close/>
                <a:moveTo>
                  <a:pt x="301819" y="147785"/>
                </a:moveTo>
                <a:cubicBezTo>
                  <a:pt x="297696" y="147785"/>
                  <a:pt x="294398" y="151062"/>
                  <a:pt x="294398" y="155157"/>
                </a:cubicBezTo>
                <a:lnTo>
                  <a:pt x="294398" y="198981"/>
                </a:lnTo>
                <a:cubicBezTo>
                  <a:pt x="294398" y="203076"/>
                  <a:pt x="297696" y="205943"/>
                  <a:pt x="301819" y="205943"/>
                </a:cubicBezTo>
                <a:lnTo>
                  <a:pt x="347581" y="205943"/>
                </a:lnTo>
                <a:cubicBezTo>
                  <a:pt x="351291" y="205943"/>
                  <a:pt x="354589" y="203076"/>
                  <a:pt x="354589" y="198981"/>
                </a:cubicBezTo>
                <a:lnTo>
                  <a:pt x="354589" y="155157"/>
                </a:lnTo>
                <a:cubicBezTo>
                  <a:pt x="354589" y="151062"/>
                  <a:pt x="351291" y="147785"/>
                  <a:pt x="347581" y="147785"/>
                </a:cubicBezTo>
                <a:close/>
                <a:moveTo>
                  <a:pt x="184043" y="147785"/>
                </a:moveTo>
                <a:cubicBezTo>
                  <a:pt x="180367" y="147785"/>
                  <a:pt x="177099" y="151062"/>
                  <a:pt x="177099" y="155157"/>
                </a:cubicBezTo>
                <a:lnTo>
                  <a:pt x="177099" y="198981"/>
                </a:lnTo>
                <a:cubicBezTo>
                  <a:pt x="177099" y="203076"/>
                  <a:pt x="180367" y="205943"/>
                  <a:pt x="184043" y="205943"/>
                </a:cubicBezTo>
                <a:lnTo>
                  <a:pt x="229382" y="205943"/>
                </a:lnTo>
                <a:cubicBezTo>
                  <a:pt x="233467" y="205943"/>
                  <a:pt x="236734" y="203076"/>
                  <a:pt x="236734" y="198981"/>
                </a:cubicBezTo>
                <a:lnTo>
                  <a:pt x="236734" y="155157"/>
                </a:lnTo>
                <a:cubicBezTo>
                  <a:pt x="236734" y="151062"/>
                  <a:pt x="233467" y="147785"/>
                  <a:pt x="229382" y="147785"/>
                </a:cubicBezTo>
                <a:close/>
                <a:moveTo>
                  <a:pt x="64752" y="147785"/>
                </a:moveTo>
                <a:cubicBezTo>
                  <a:pt x="60649" y="147785"/>
                  <a:pt x="57776" y="151062"/>
                  <a:pt x="57776" y="155157"/>
                </a:cubicBezTo>
                <a:lnTo>
                  <a:pt x="57776" y="198981"/>
                </a:lnTo>
                <a:cubicBezTo>
                  <a:pt x="57776" y="203076"/>
                  <a:pt x="60649" y="205943"/>
                  <a:pt x="64752" y="205943"/>
                </a:cubicBezTo>
                <a:lnTo>
                  <a:pt x="110301" y="205943"/>
                </a:lnTo>
                <a:cubicBezTo>
                  <a:pt x="113994" y="205943"/>
                  <a:pt x="117277" y="203076"/>
                  <a:pt x="117277" y="198981"/>
                </a:cubicBezTo>
                <a:lnTo>
                  <a:pt x="117277" y="155157"/>
                </a:lnTo>
                <a:cubicBezTo>
                  <a:pt x="117277" y="151062"/>
                  <a:pt x="113994" y="147785"/>
                  <a:pt x="110301" y="147785"/>
                </a:cubicBezTo>
                <a:close/>
                <a:moveTo>
                  <a:pt x="301819" y="133860"/>
                </a:moveTo>
                <a:lnTo>
                  <a:pt x="347581" y="133860"/>
                </a:lnTo>
                <a:cubicBezTo>
                  <a:pt x="359124" y="133860"/>
                  <a:pt x="368607" y="143280"/>
                  <a:pt x="368607" y="155157"/>
                </a:cubicBezTo>
                <a:lnTo>
                  <a:pt x="368607" y="198981"/>
                </a:lnTo>
                <a:cubicBezTo>
                  <a:pt x="368607" y="210858"/>
                  <a:pt x="359124" y="220278"/>
                  <a:pt x="347581" y="220278"/>
                </a:cubicBezTo>
                <a:lnTo>
                  <a:pt x="301819" y="220278"/>
                </a:lnTo>
                <a:cubicBezTo>
                  <a:pt x="289863" y="220278"/>
                  <a:pt x="280381" y="210858"/>
                  <a:pt x="280381" y="198981"/>
                </a:cubicBezTo>
                <a:lnTo>
                  <a:pt x="280381" y="155157"/>
                </a:lnTo>
                <a:cubicBezTo>
                  <a:pt x="280381" y="143280"/>
                  <a:pt x="289863" y="133860"/>
                  <a:pt x="301819" y="133860"/>
                </a:cubicBezTo>
                <a:close/>
                <a:moveTo>
                  <a:pt x="184043" y="133860"/>
                </a:moveTo>
                <a:lnTo>
                  <a:pt x="229382" y="133860"/>
                </a:lnTo>
                <a:cubicBezTo>
                  <a:pt x="241227" y="133860"/>
                  <a:pt x="251030" y="143280"/>
                  <a:pt x="251030" y="155157"/>
                </a:cubicBezTo>
                <a:lnTo>
                  <a:pt x="251030" y="198981"/>
                </a:lnTo>
                <a:cubicBezTo>
                  <a:pt x="251030" y="210858"/>
                  <a:pt x="241227" y="220278"/>
                  <a:pt x="229382" y="220278"/>
                </a:cubicBezTo>
                <a:lnTo>
                  <a:pt x="184043" y="220278"/>
                </a:lnTo>
                <a:cubicBezTo>
                  <a:pt x="172606" y="220278"/>
                  <a:pt x="162803" y="210858"/>
                  <a:pt x="162803" y="198981"/>
                </a:cubicBezTo>
                <a:lnTo>
                  <a:pt x="162803" y="155157"/>
                </a:lnTo>
                <a:cubicBezTo>
                  <a:pt x="162803" y="143280"/>
                  <a:pt x="172606" y="133860"/>
                  <a:pt x="184043" y="133860"/>
                </a:cubicBezTo>
                <a:close/>
                <a:moveTo>
                  <a:pt x="64752" y="133860"/>
                </a:moveTo>
                <a:lnTo>
                  <a:pt x="110301" y="133860"/>
                </a:lnTo>
                <a:cubicBezTo>
                  <a:pt x="122201" y="133860"/>
                  <a:pt x="131640" y="143280"/>
                  <a:pt x="131640" y="155157"/>
                </a:cubicBezTo>
                <a:lnTo>
                  <a:pt x="131640" y="198981"/>
                </a:lnTo>
                <a:cubicBezTo>
                  <a:pt x="131640" y="210858"/>
                  <a:pt x="122201" y="220278"/>
                  <a:pt x="110301" y="220278"/>
                </a:cubicBezTo>
                <a:lnTo>
                  <a:pt x="64752" y="220278"/>
                </a:lnTo>
                <a:cubicBezTo>
                  <a:pt x="52852" y="220278"/>
                  <a:pt x="43414" y="210858"/>
                  <a:pt x="43414" y="198981"/>
                </a:cubicBezTo>
                <a:lnTo>
                  <a:pt x="43414" y="155157"/>
                </a:lnTo>
                <a:cubicBezTo>
                  <a:pt x="43414" y="143280"/>
                  <a:pt x="52852" y="133860"/>
                  <a:pt x="64752" y="133860"/>
                </a:cubicBezTo>
                <a:close/>
                <a:moveTo>
                  <a:pt x="32811" y="43934"/>
                </a:moveTo>
                <a:cubicBezTo>
                  <a:pt x="22558" y="43934"/>
                  <a:pt x="14355" y="52146"/>
                  <a:pt x="14355" y="62001"/>
                </a:cubicBezTo>
                <a:lnTo>
                  <a:pt x="14355" y="103472"/>
                </a:lnTo>
                <a:lnTo>
                  <a:pt x="399887" y="103472"/>
                </a:lnTo>
                <a:lnTo>
                  <a:pt x="399887" y="62001"/>
                </a:lnTo>
                <a:cubicBezTo>
                  <a:pt x="399887" y="52146"/>
                  <a:pt x="391684" y="43934"/>
                  <a:pt x="381431" y="43934"/>
                </a:cubicBezTo>
                <a:lnTo>
                  <a:pt x="353951" y="43934"/>
                </a:lnTo>
                <a:lnTo>
                  <a:pt x="353951" y="52557"/>
                </a:lnTo>
                <a:cubicBezTo>
                  <a:pt x="353951" y="64054"/>
                  <a:pt x="344518" y="73498"/>
                  <a:pt x="333034" y="73498"/>
                </a:cubicBezTo>
                <a:cubicBezTo>
                  <a:pt x="321550" y="73498"/>
                  <a:pt x="312117" y="64054"/>
                  <a:pt x="312117" y="52557"/>
                </a:cubicBezTo>
                <a:lnTo>
                  <a:pt x="312117" y="43934"/>
                </a:lnTo>
                <a:lnTo>
                  <a:pt x="102125" y="43934"/>
                </a:lnTo>
                <a:lnTo>
                  <a:pt x="102125" y="52557"/>
                </a:lnTo>
                <a:cubicBezTo>
                  <a:pt x="102125" y="64054"/>
                  <a:pt x="93102" y="73498"/>
                  <a:pt x="81208" y="73498"/>
                </a:cubicBezTo>
                <a:cubicBezTo>
                  <a:pt x="69724" y="73498"/>
                  <a:pt x="60291" y="64054"/>
                  <a:pt x="60291" y="52557"/>
                </a:cubicBezTo>
                <a:lnTo>
                  <a:pt x="60291" y="43934"/>
                </a:lnTo>
                <a:close/>
                <a:moveTo>
                  <a:pt x="333034" y="13960"/>
                </a:moveTo>
                <a:cubicBezTo>
                  <a:pt x="329343" y="13960"/>
                  <a:pt x="326472" y="17245"/>
                  <a:pt x="326472" y="20941"/>
                </a:cubicBezTo>
                <a:lnTo>
                  <a:pt x="326472" y="52557"/>
                </a:lnTo>
                <a:cubicBezTo>
                  <a:pt x="326472" y="56252"/>
                  <a:pt x="329343" y="59127"/>
                  <a:pt x="333034" y="59127"/>
                </a:cubicBezTo>
                <a:cubicBezTo>
                  <a:pt x="336725" y="59127"/>
                  <a:pt x="339596" y="56252"/>
                  <a:pt x="339596" y="52557"/>
                </a:cubicBezTo>
                <a:lnTo>
                  <a:pt x="339596" y="20941"/>
                </a:lnTo>
                <a:cubicBezTo>
                  <a:pt x="339596" y="17245"/>
                  <a:pt x="336725" y="13960"/>
                  <a:pt x="333034" y="13960"/>
                </a:cubicBezTo>
                <a:close/>
                <a:moveTo>
                  <a:pt x="81208" y="13960"/>
                </a:moveTo>
                <a:cubicBezTo>
                  <a:pt x="77927" y="13960"/>
                  <a:pt x="74646" y="17245"/>
                  <a:pt x="74646" y="20941"/>
                </a:cubicBezTo>
                <a:lnTo>
                  <a:pt x="74646" y="52557"/>
                </a:lnTo>
                <a:cubicBezTo>
                  <a:pt x="74646" y="56252"/>
                  <a:pt x="77927" y="59127"/>
                  <a:pt x="81208" y="59127"/>
                </a:cubicBezTo>
                <a:cubicBezTo>
                  <a:pt x="84899" y="59127"/>
                  <a:pt x="88180" y="56252"/>
                  <a:pt x="88180" y="52557"/>
                </a:cubicBezTo>
                <a:lnTo>
                  <a:pt x="88180" y="20941"/>
                </a:lnTo>
                <a:cubicBezTo>
                  <a:pt x="88180" y="17245"/>
                  <a:pt x="84899" y="13960"/>
                  <a:pt x="81208" y="13960"/>
                </a:cubicBezTo>
                <a:close/>
                <a:moveTo>
                  <a:pt x="81208" y="0"/>
                </a:moveTo>
                <a:cubicBezTo>
                  <a:pt x="93102" y="0"/>
                  <a:pt x="102125" y="9444"/>
                  <a:pt x="102125" y="20941"/>
                </a:cubicBezTo>
                <a:lnTo>
                  <a:pt x="102125" y="29153"/>
                </a:lnTo>
                <a:lnTo>
                  <a:pt x="312117" y="29153"/>
                </a:lnTo>
                <a:lnTo>
                  <a:pt x="312117" y="20941"/>
                </a:lnTo>
                <a:cubicBezTo>
                  <a:pt x="312117" y="9444"/>
                  <a:pt x="321550" y="0"/>
                  <a:pt x="333034" y="0"/>
                </a:cubicBezTo>
                <a:cubicBezTo>
                  <a:pt x="344518" y="0"/>
                  <a:pt x="353951" y="9444"/>
                  <a:pt x="353951" y="20941"/>
                </a:cubicBezTo>
                <a:lnTo>
                  <a:pt x="353951" y="29153"/>
                </a:lnTo>
                <a:lnTo>
                  <a:pt x="381431" y="29153"/>
                </a:lnTo>
                <a:cubicBezTo>
                  <a:pt x="399477" y="29153"/>
                  <a:pt x="413832" y="44345"/>
                  <a:pt x="413832" y="62001"/>
                </a:cubicBezTo>
                <a:lnTo>
                  <a:pt x="413832" y="322734"/>
                </a:lnTo>
                <a:cubicBezTo>
                  <a:pt x="413832" y="327251"/>
                  <a:pt x="410961" y="330125"/>
                  <a:pt x="406859" y="330125"/>
                </a:cubicBezTo>
                <a:cubicBezTo>
                  <a:pt x="403168" y="330125"/>
                  <a:pt x="399887" y="327251"/>
                  <a:pt x="399887" y="322734"/>
                </a:cubicBezTo>
                <a:lnTo>
                  <a:pt x="399887" y="118253"/>
                </a:lnTo>
                <a:lnTo>
                  <a:pt x="14355" y="118253"/>
                </a:lnTo>
                <a:lnTo>
                  <a:pt x="14355" y="426206"/>
                </a:lnTo>
                <a:cubicBezTo>
                  <a:pt x="14355" y="436061"/>
                  <a:pt x="22558" y="444684"/>
                  <a:pt x="32811" y="444684"/>
                </a:cubicBezTo>
                <a:lnTo>
                  <a:pt x="319499" y="444684"/>
                </a:lnTo>
                <a:cubicBezTo>
                  <a:pt x="323601" y="444684"/>
                  <a:pt x="326472" y="447968"/>
                  <a:pt x="326472" y="451664"/>
                </a:cubicBezTo>
                <a:cubicBezTo>
                  <a:pt x="326472" y="455770"/>
                  <a:pt x="323601" y="459055"/>
                  <a:pt x="319499" y="459055"/>
                </a:cubicBezTo>
                <a:lnTo>
                  <a:pt x="32811" y="459055"/>
                </a:lnTo>
                <a:cubicBezTo>
                  <a:pt x="14765" y="459055"/>
                  <a:pt x="0" y="444273"/>
                  <a:pt x="0" y="426206"/>
                </a:cubicBezTo>
                <a:lnTo>
                  <a:pt x="0" y="62001"/>
                </a:lnTo>
                <a:cubicBezTo>
                  <a:pt x="0" y="44345"/>
                  <a:pt x="14765" y="29153"/>
                  <a:pt x="32811" y="29153"/>
                </a:cubicBezTo>
                <a:lnTo>
                  <a:pt x="60291" y="29153"/>
                </a:lnTo>
                <a:lnTo>
                  <a:pt x="60291" y="20941"/>
                </a:lnTo>
                <a:cubicBezTo>
                  <a:pt x="60291" y="9444"/>
                  <a:pt x="69724" y="0"/>
                  <a:pt x="81208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8" name="Freeform 23">
            <a:extLst>
              <a:ext uri="{FF2B5EF4-FFF2-40B4-BE49-F238E27FC236}">
                <a16:creationId xmlns:a16="http://schemas.microsoft.com/office/drawing/2014/main" id="{6E5F9FA4-1AC3-4582-8544-B5B9C7B00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4402" y="5983454"/>
            <a:ext cx="615548" cy="483740"/>
          </a:xfrm>
          <a:custGeom>
            <a:avLst/>
            <a:gdLst>
              <a:gd name="connsiteX0" fmla="*/ 256490 w 518355"/>
              <a:gd name="connsiteY0" fmla="*/ 150903 h 407360"/>
              <a:gd name="connsiteX1" fmla="*/ 261461 w 518355"/>
              <a:gd name="connsiteY1" fmla="*/ 150903 h 407360"/>
              <a:gd name="connsiteX2" fmla="*/ 263946 w 518355"/>
              <a:gd name="connsiteY2" fmla="*/ 153370 h 407360"/>
              <a:gd name="connsiteX3" fmla="*/ 263946 w 518355"/>
              <a:gd name="connsiteY3" fmla="*/ 165292 h 407360"/>
              <a:gd name="connsiteX4" fmla="*/ 270989 w 518355"/>
              <a:gd name="connsiteY4" fmla="*/ 166937 h 407360"/>
              <a:gd name="connsiteX5" fmla="*/ 277617 w 518355"/>
              <a:gd name="connsiteY5" fmla="*/ 172282 h 407360"/>
              <a:gd name="connsiteX6" fmla="*/ 282173 w 518355"/>
              <a:gd name="connsiteY6" fmla="*/ 180504 h 407360"/>
              <a:gd name="connsiteX7" fmla="*/ 283830 w 518355"/>
              <a:gd name="connsiteY7" fmla="*/ 189549 h 407360"/>
              <a:gd name="connsiteX8" fmla="*/ 281759 w 518355"/>
              <a:gd name="connsiteY8" fmla="*/ 192426 h 407360"/>
              <a:gd name="connsiteX9" fmla="*/ 274717 w 518355"/>
              <a:gd name="connsiteY9" fmla="*/ 194482 h 407360"/>
              <a:gd name="connsiteX10" fmla="*/ 271403 w 518355"/>
              <a:gd name="connsiteY10" fmla="*/ 192015 h 407360"/>
              <a:gd name="connsiteX11" fmla="*/ 270160 w 518355"/>
              <a:gd name="connsiteY11" fmla="*/ 185437 h 407360"/>
              <a:gd name="connsiteX12" fmla="*/ 266018 w 518355"/>
              <a:gd name="connsiteY12" fmla="*/ 178037 h 407360"/>
              <a:gd name="connsiteX13" fmla="*/ 257318 w 518355"/>
              <a:gd name="connsiteY13" fmla="*/ 175982 h 407360"/>
              <a:gd name="connsiteX14" fmla="*/ 249033 w 518355"/>
              <a:gd name="connsiteY14" fmla="*/ 179271 h 407360"/>
              <a:gd name="connsiteX15" fmla="*/ 245719 w 518355"/>
              <a:gd name="connsiteY15" fmla="*/ 187493 h 407360"/>
              <a:gd name="connsiteX16" fmla="*/ 247376 w 518355"/>
              <a:gd name="connsiteY16" fmla="*/ 195715 h 407360"/>
              <a:gd name="connsiteX17" fmla="*/ 252762 w 518355"/>
              <a:gd name="connsiteY17" fmla="*/ 201882 h 407360"/>
              <a:gd name="connsiteX18" fmla="*/ 270989 w 518355"/>
              <a:gd name="connsiteY18" fmla="*/ 217916 h 407360"/>
              <a:gd name="connsiteX19" fmla="*/ 278031 w 518355"/>
              <a:gd name="connsiteY19" fmla="*/ 225316 h 407360"/>
              <a:gd name="connsiteX20" fmla="*/ 283830 w 518355"/>
              <a:gd name="connsiteY20" fmla="*/ 235183 h 407360"/>
              <a:gd name="connsiteX21" fmla="*/ 285902 w 518355"/>
              <a:gd name="connsiteY21" fmla="*/ 247106 h 407360"/>
              <a:gd name="connsiteX22" fmla="*/ 283002 w 518355"/>
              <a:gd name="connsiteY22" fmla="*/ 259850 h 407360"/>
              <a:gd name="connsiteX23" fmla="*/ 275545 w 518355"/>
              <a:gd name="connsiteY23" fmla="*/ 268073 h 407360"/>
              <a:gd name="connsiteX24" fmla="*/ 263946 w 518355"/>
              <a:gd name="connsiteY24" fmla="*/ 272184 h 407360"/>
              <a:gd name="connsiteX25" fmla="*/ 263946 w 518355"/>
              <a:gd name="connsiteY25" fmla="*/ 281229 h 407360"/>
              <a:gd name="connsiteX26" fmla="*/ 263946 w 518355"/>
              <a:gd name="connsiteY26" fmla="*/ 283695 h 407360"/>
              <a:gd name="connsiteX27" fmla="*/ 261461 w 518355"/>
              <a:gd name="connsiteY27" fmla="*/ 286162 h 407360"/>
              <a:gd name="connsiteX28" fmla="*/ 256490 w 518355"/>
              <a:gd name="connsiteY28" fmla="*/ 286162 h 407360"/>
              <a:gd name="connsiteX29" fmla="*/ 254419 w 518355"/>
              <a:gd name="connsiteY29" fmla="*/ 283695 h 407360"/>
              <a:gd name="connsiteX30" fmla="*/ 254419 w 518355"/>
              <a:gd name="connsiteY30" fmla="*/ 271773 h 407360"/>
              <a:gd name="connsiteX31" fmla="*/ 239505 w 518355"/>
              <a:gd name="connsiteY31" fmla="*/ 263550 h 407360"/>
              <a:gd name="connsiteX32" fmla="*/ 232463 w 518355"/>
              <a:gd name="connsiteY32" fmla="*/ 244228 h 407360"/>
              <a:gd name="connsiteX33" fmla="*/ 234534 w 518355"/>
              <a:gd name="connsiteY33" fmla="*/ 241350 h 407360"/>
              <a:gd name="connsiteX34" fmla="*/ 241991 w 518355"/>
              <a:gd name="connsiteY34" fmla="*/ 238883 h 407360"/>
              <a:gd name="connsiteX35" fmla="*/ 245719 w 518355"/>
              <a:gd name="connsiteY35" fmla="*/ 241350 h 407360"/>
              <a:gd name="connsiteX36" fmla="*/ 247376 w 518355"/>
              <a:gd name="connsiteY36" fmla="*/ 249161 h 407360"/>
              <a:gd name="connsiteX37" fmla="*/ 251933 w 518355"/>
              <a:gd name="connsiteY37" fmla="*/ 257384 h 407360"/>
              <a:gd name="connsiteX38" fmla="*/ 260218 w 518355"/>
              <a:gd name="connsiteY38" fmla="*/ 260673 h 407360"/>
              <a:gd name="connsiteX39" fmla="*/ 269332 w 518355"/>
              <a:gd name="connsiteY39" fmla="*/ 257384 h 407360"/>
              <a:gd name="connsiteX40" fmla="*/ 271817 w 518355"/>
              <a:gd name="connsiteY40" fmla="*/ 248339 h 407360"/>
              <a:gd name="connsiteX41" fmla="*/ 268917 w 518355"/>
              <a:gd name="connsiteY41" fmla="*/ 236828 h 407360"/>
              <a:gd name="connsiteX42" fmla="*/ 260632 w 518355"/>
              <a:gd name="connsiteY42" fmla="*/ 228194 h 407360"/>
              <a:gd name="connsiteX43" fmla="*/ 242405 w 518355"/>
              <a:gd name="connsiteY43" fmla="*/ 212160 h 407360"/>
              <a:gd name="connsiteX44" fmla="*/ 237020 w 518355"/>
              <a:gd name="connsiteY44" fmla="*/ 205993 h 407360"/>
              <a:gd name="connsiteX45" fmla="*/ 233706 w 518355"/>
              <a:gd name="connsiteY45" fmla="*/ 198182 h 407360"/>
              <a:gd name="connsiteX46" fmla="*/ 232463 w 518355"/>
              <a:gd name="connsiteY46" fmla="*/ 188726 h 407360"/>
              <a:gd name="connsiteX47" fmla="*/ 239091 w 518355"/>
              <a:gd name="connsiteY47" fmla="*/ 171459 h 407360"/>
              <a:gd name="connsiteX48" fmla="*/ 254419 w 518355"/>
              <a:gd name="connsiteY48" fmla="*/ 164881 h 407360"/>
              <a:gd name="connsiteX49" fmla="*/ 254419 w 518355"/>
              <a:gd name="connsiteY49" fmla="*/ 153370 h 407360"/>
              <a:gd name="connsiteX50" fmla="*/ 256490 w 518355"/>
              <a:gd name="connsiteY50" fmla="*/ 150903 h 407360"/>
              <a:gd name="connsiteX51" fmla="*/ 259675 w 518355"/>
              <a:gd name="connsiteY51" fmla="*/ 121861 h 407360"/>
              <a:gd name="connsiteX52" fmla="*/ 165047 w 518355"/>
              <a:gd name="connsiteY52" fmla="*/ 216723 h 407360"/>
              <a:gd name="connsiteX53" fmla="*/ 259675 w 518355"/>
              <a:gd name="connsiteY53" fmla="*/ 311174 h 407360"/>
              <a:gd name="connsiteX54" fmla="*/ 354714 w 518355"/>
              <a:gd name="connsiteY54" fmla="*/ 216723 h 407360"/>
              <a:gd name="connsiteX55" fmla="*/ 259675 w 518355"/>
              <a:gd name="connsiteY55" fmla="*/ 121861 h 407360"/>
              <a:gd name="connsiteX56" fmla="*/ 259675 w 518355"/>
              <a:gd name="connsiteY56" fmla="*/ 107488 h 407360"/>
              <a:gd name="connsiteX57" fmla="*/ 369114 w 518355"/>
              <a:gd name="connsiteY57" fmla="*/ 216723 h 407360"/>
              <a:gd name="connsiteX58" fmla="*/ 259675 w 518355"/>
              <a:gd name="connsiteY58" fmla="*/ 325958 h 407360"/>
              <a:gd name="connsiteX59" fmla="*/ 150647 w 518355"/>
              <a:gd name="connsiteY59" fmla="*/ 216723 h 407360"/>
              <a:gd name="connsiteX60" fmla="*/ 259675 w 518355"/>
              <a:gd name="connsiteY60" fmla="*/ 107488 h 407360"/>
              <a:gd name="connsiteX61" fmla="*/ 258977 w 518355"/>
              <a:gd name="connsiteY61" fmla="*/ 79828 h 407360"/>
              <a:gd name="connsiteX62" fmla="*/ 121177 w 518355"/>
              <a:gd name="connsiteY62" fmla="*/ 217628 h 407360"/>
              <a:gd name="connsiteX63" fmla="*/ 258977 w 518355"/>
              <a:gd name="connsiteY63" fmla="*/ 355018 h 407360"/>
              <a:gd name="connsiteX64" fmla="*/ 396777 w 518355"/>
              <a:gd name="connsiteY64" fmla="*/ 217628 h 407360"/>
              <a:gd name="connsiteX65" fmla="*/ 258977 w 518355"/>
              <a:gd name="connsiteY65" fmla="*/ 79828 h 407360"/>
              <a:gd name="connsiteX66" fmla="*/ 258977 w 518355"/>
              <a:gd name="connsiteY66" fmla="*/ 65884 h 407360"/>
              <a:gd name="connsiteX67" fmla="*/ 410721 w 518355"/>
              <a:gd name="connsiteY67" fmla="*/ 217628 h 407360"/>
              <a:gd name="connsiteX68" fmla="*/ 258977 w 518355"/>
              <a:gd name="connsiteY68" fmla="*/ 369372 h 407360"/>
              <a:gd name="connsiteX69" fmla="*/ 107233 w 518355"/>
              <a:gd name="connsiteY69" fmla="*/ 217628 h 407360"/>
              <a:gd name="connsiteX70" fmla="*/ 258977 w 518355"/>
              <a:gd name="connsiteY70" fmla="*/ 65884 h 407360"/>
              <a:gd name="connsiteX71" fmla="*/ 80781 w 518355"/>
              <a:gd name="connsiteY71" fmla="*/ 51284 h 407360"/>
              <a:gd name="connsiteX72" fmla="*/ 77914 w 518355"/>
              <a:gd name="connsiteY72" fmla="*/ 52513 h 407360"/>
              <a:gd name="connsiteX73" fmla="*/ 46786 w 518355"/>
              <a:gd name="connsiteY73" fmla="*/ 340161 h 407360"/>
              <a:gd name="connsiteX74" fmla="*/ 49653 w 518355"/>
              <a:gd name="connsiteY74" fmla="*/ 345078 h 407360"/>
              <a:gd name="connsiteX75" fmla="*/ 29175 w 518355"/>
              <a:gd name="connsiteY75" fmla="*/ 365156 h 407360"/>
              <a:gd name="connsiteX76" fmla="*/ 113956 w 518355"/>
              <a:gd name="connsiteY76" fmla="*/ 391790 h 407360"/>
              <a:gd name="connsiteX77" fmla="*/ 87743 w 518355"/>
              <a:gd name="connsiteY77" fmla="*/ 306971 h 407360"/>
              <a:gd name="connsiteX78" fmla="*/ 73818 w 518355"/>
              <a:gd name="connsiteY78" fmla="*/ 320902 h 407360"/>
              <a:gd name="connsiteX79" fmla="*/ 69313 w 518355"/>
              <a:gd name="connsiteY79" fmla="*/ 311888 h 407360"/>
              <a:gd name="connsiteX80" fmla="*/ 102078 w 518355"/>
              <a:gd name="connsiteY80" fmla="*/ 75459 h 407360"/>
              <a:gd name="connsiteX81" fmla="*/ 101669 w 518355"/>
              <a:gd name="connsiteY81" fmla="*/ 70952 h 407360"/>
              <a:gd name="connsiteX82" fmla="*/ 83238 w 518355"/>
              <a:gd name="connsiteY82" fmla="*/ 52103 h 407360"/>
              <a:gd name="connsiteX83" fmla="*/ 80781 w 518355"/>
              <a:gd name="connsiteY83" fmla="*/ 51284 h 407360"/>
              <a:gd name="connsiteX84" fmla="*/ 80371 w 518355"/>
              <a:gd name="connsiteY84" fmla="*/ 36942 h 407360"/>
              <a:gd name="connsiteX85" fmla="*/ 93477 w 518355"/>
              <a:gd name="connsiteY85" fmla="*/ 42269 h 407360"/>
              <a:gd name="connsiteX86" fmla="*/ 111908 w 518355"/>
              <a:gd name="connsiteY86" fmla="*/ 60708 h 407360"/>
              <a:gd name="connsiteX87" fmla="*/ 112317 w 518355"/>
              <a:gd name="connsiteY87" fmla="*/ 85293 h 407360"/>
              <a:gd name="connsiteX88" fmla="*/ 77504 w 518355"/>
              <a:gd name="connsiteY88" fmla="*/ 296727 h 407360"/>
              <a:gd name="connsiteX89" fmla="*/ 79961 w 518355"/>
              <a:gd name="connsiteY89" fmla="*/ 294268 h 407360"/>
              <a:gd name="connsiteX90" fmla="*/ 91020 w 518355"/>
              <a:gd name="connsiteY90" fmla="*/ 290990 h 407360"/>
              <a:gd name="connsiteX91" fmla="*/ 99621 w 518355"/>
              <a:gd name="connsiteY91" fmla="*/ 297956 h 407360"/>
              <a:gd name="connsiteX92" fmla="*/ 99621 w 518355"/>
              <a:gd name="connsiteY92" fmla="*/ 298366 h 407360"/>
              <a:gd name="connsiteX93" fmla="*/ 128700 w 518355"/>
              <a:gd name="connsiteY93" fmla="*/ 391380 h 407360"/>
              <a:gd name="connsiteX94" fmla="*/ 126243 w 518355"/>
              <a:gd name="connsiteY94" fmla="*/ 404082 h 407360"/>
              <a:gd name="connsiteX95" fmla="*/ 117642 w 518355"/>
              <a:gd name="connsiteY95" fmla="*/ 407360 h 407360"/>
              <a:gd name="connsiteX96" fmla="*/ 113546 w 518355"/>
              <a:gd name="connsiteY96" fmla="*/ 406951 h 407360"/>
              <a:gd name="connsiteX97" fmla="*/ 20574 w 518355"/>
              <a:gd name="connsiteY97" fmla="*/ 377448 h 407360"/>
              <a:gd name="connsiteX98" fmla="*/ 13202 w 518355"/>
              <a:gd name="connsiteY98" fmla="*/ 368434 h 407360"/>
              <a:gd name="connsiteX99" fmla="*/ 16478 w 518355"/>
              <a:gd name="connsiteY99" fmla="*/ 357780 h 407360"/>
              <a:gd name="connsiteX100" fmla="*/ 31632 w 518355"/>
              <a:gd name="connsiteY100" fmla="*/ 342619 h 407360"/>
              <a:gd name="connsiteX101" fmla="*/ 67265 w 518355"/>
              <a:gd name="connsiteY101" fmla="*/ 43088 h 407360"/>
              <a:gd name="connsiteX102" fmla="*/ 80371 w 518355"/>
              <a:gd name="connsiteY102" fmla="*/ 36942 h 407360"/>
              <a:gd name="connsiteX103" fmla="*/ 380514 w 518355"/>
              <a:gd name="connsiteY103" fmla="*/ 15748 h 407360"/>
              <a:gd name="connsiteX104" fmla="*/ 406777 w 518355"/>
              <a:gd name="connsiteY104" fmla="*/ 100126 h 407360"/>
              <a:gd name="connsiteX105" fmla="*/ 423602 w 518355"/>
              <a:gd name="connsiteY105" fmla="*/ 83742 h 407360"/>
              <a:gd name="connsiteX106" fmla="*/ 428526 w 518355"/>
              <a:gd name="connsiteY106" fmla="*/ 90296 h 407360"/>
              <a:gd name="connsiteX107" fmla="*/ 416626 w 518355"/>
              <a:gd name="connsiteY107" fmla="*/ 359814 h 407360"/>
              <a:gd name="connsiteX108" fmla="*/ 416626 w 518355"/>
              <a:gd name="connsiteY108" fmla="*/ 364729 h 407360"/>
              <a:gd name="connsiteX109" fmla="*/ 435502 w 518355"/>
              <a:gd name="connsiteY109" fmla="*/ 383161 h 407360"/>
              <a:gd name="connsiteX110" fmla="*/ 437964 w 518355"/>
              <a:gd name="connsiteY110" fmla="*/ 384390 h 407360"/>
              <a:gd name="connsiteX111" fmla="*/ 440426 w 518355"/>
              <a:gd name="connsiteY111" fmla="*/ 383161 h 407360"/>
              <a:gd name="connsiteX112" fmla="*/ 451096 w 518355"/>
              <a:gd name="connsiteY112" fmla="*/ 65310 h 407360"/>
              <a:gd name="connsiteX113" fmla="*/ 446992 w 518355"/>
              <a:gd name="connsiteY113" fmla="*/ 59985 h 407360"/>
              <a:gd name="connsiteX114" fmla="*/ 465048 w 518355"/>
              <a:gd name="connsiteY114" fmla="*/ 41962 h 407360"/>
              <a:gd name="connsiteX115" fmla="*/ 380925 w 518355"/>
              <a:gd name="connsiteY115" fmla="*/ 1002 h 407360"/>
              <a:gd name="connsiteX116" fmla="*/ 474076 w 518355"/>
              <a:gd name="connsiteY116" fmla="*/ 30084 h 407360"/>
              <a:gd name="connsiteX117" fmla="*/ 481052 w 518355"/>
              <a:gd name="connsiteY117" fmla="*/ 38686 h 407360"/>
              <a:gd name="connsiteX118" fmla="*/ 478179 w 518355"/>
              <a:gd name="connsiteY118" fmla="*/ 49745 h 407360"/>
              <a:gd name="connsiteX119" fmla="*/ 466279 w 518355"/>
              <a:gd name="connsiteY119" fmla="*/ 61214 h 407360"/>
              <a:gd name="connsiteX120" fmla="*/ 451096 w 518355"/>
              <a:gd name="connsiteY120" fmla="*/ 392582 h 407360"/>
              <a:gd name="connsiteX121" fmla="*/ 438375 w 518355"/>
              <a:gd name="connsiteY121" fmla="*/ 398317 h 407360"/>
              <a:gd name="connsiteX122" fmla="*/ 437554 w 518355"/>
              <a:gd name="connsiteY122" fmla="*/ 398317 h 407360"/>
              <a:gd name="connsiteX123" fmla="*/ 425243 w 518355"/>
              <a:gd name="connsiteY123" fmla="*/ 392992 h 407360"/>
              <a:gd name="connsiteX124" fmla="*/ 406777 w 518355"/>
              <a:gd name="connsiteY124" fmla="*/ 374969 h 407360"/>
              <a:gd name="connsiteX125" fmla="*/ 405956 w 518355"/>
              <a:gd name="connsiteY125" fmla="*/ 349984 h 407360"/>
              <a:gd name="connsiteX126" fmla="*/ 421960 w 518355"/>
              <a:gd name="connsiteY126" fmla="*/ 105451 h 407360"/>
              <a:gd name="connsiteX127" fmla="*/ 414164 w 518355"/>
              <a:gd name="connsiteY127" fmla="*/ 113233 h 407360"/>
              <a:gd name="connsiteX128" fmla="*/ 403494 w 518355"/>
              <a:gd name="connsiteY128" fmla="*/ 116510 h 407360"/>
              <a:gd name="connsiteX129" fmla="*/ 394877 w 518355"/>
              <a:gd name="connsiteY129" fmla="*/ 109547 h 407360"/>
              <a:gd name="connsiteX130" fmla="*/ 394467 w 518355"/>
              <a:gd name="connsiteY130" fmla="*/ 108728 h 407360"/>
              <a:gd name="connsiteX131" fmla="*/ 365331 w 518355"/>
              <a:gd name="connsiteY131" fmla="*/ 16157 h 407360"/>
              <a:gd name="connsiteX132" fmla="*/ 368204 w 518355"/>
              <a:gd name="connsiteY132" fmla="*/ 3460 h 407360"/>
              <a:gd name="connsiteX133" fmla="*/ 380925 w 518355"/>
              <a:gd name="connsiteY133" fmla="*/ 1002 h 40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518355" h="407360">
                <a:moveTo>
                  <a:pt x="256490" y="150903"/>
                </a:moveTo>
                <a:lnTo>
                  <a:pt x="261461" y="150903"/>
                </a:lnTo>
                <a:cubicBezTo>
                  <a:pt x="262704" y="150903"/>
                  <a:pt x="263946" y="152137"/>
                  <a:pt x="263946" y="153370"/>
                </a:cubicBezTo>
                <a:lnTo>
                  <a:pt x="263946" y="165292"/>
                </a:lnTo>
                <a:cubicBezTo>
                  <a:pt x="266432" y="165292"/>
                  <a:pt x="268503" y="166115"/>
                  <a:pt x="270989" y="166937"/>
                </a:cubicBezTo>
                <a:cubicBezTo>
                  <a:pt x="273474" y="168170"/>
                  <a:pt x="275545" y="169815"/>
                  <a:pt x="277617" y="172282"/>
                </a:cubicBezTo>
                <a:cubicBezTo>
                  <a:pt x="279274" y="174337"/>
                  <a:pt x="280931" y="177215"/>
                  <a:pt x="282173" y="180504"/>
                </a:cubicBezTo>
                <a:cubicBezTo>
                  <a:pt x="283002" y="182971"/>
                  <a:pt x="283830" y="186260"/>
                  <a:pt x="283830" y="189549"/>
                </a:cubicBezTo>
                <a:cubicBezTo>
                  <a:pt x="284245" y="190782"/>
                  <a:pt x="283416" y="192015"/>
                  <a:pt x="281759" y="192426"/>
                </a:cubicBezTo>
                <a:lnTo>
                  <a:pt x="274717" y="194482"/>
                </a:lnTo>
                <a:cubicBezTo>
                  <a:pt x="273060" y="194893"/>
                  <a:pt x="271403" y="193660"/>
                  <a:pt x="271403" y="192015"/>
                </a:cubicBezTo>
                <a:cubicBezTo>
                  <a:pt x="270989" y="189549"/>
                  <a:pt x="270574" y="187493"/>
                  <a:pt x="270160" y="185437"/>
                </a:cubicBezTo>
                <a:cubicBezTo>
                  <a:pt x="269332" y="182560"/>
                  <a:pt x="268089" y="180093"/>
                  <a:pt x="266018" y="178037"/>
                </a:cubicBezTo>
                <a:cubicBezTo>
                  <a:pt x="263946" y="176393"/>
                  <a:pt x="261461" y="175571"/>
                  <a:pt x="257318" y="175982"/>
                </a:cubicBezTo>
                <a:cubicBezTo>
                  <a:pt x="253590" y="176393"/>
                  <a:pt x="250690" y="177215"/>
                  <a:pt x="249033" y="179271"/>
                </a:cubicBezTo>
                <a:cubicBezTo>
                  <a:pt x="246548" y="180915"/>
                  <a:pt x="245719" y="183793"/>
                  <a:pt x="245719" y="187493"/>
                </a:cubicBezTo>
                <a:cubicBezTo>
                  <a:pt x="245719" y="190782"/>
                  <a:pt x="246134" y="193249"/>
                  <a:pt x="247376" y="195715"/>
                </a:cubicBezTo>
                <a:cubicBezTo>
                  <a:pt x="248205" y="197360"/>
                  <a:pt x="250276" y="199416"/>
                  <a:pt x="252762" y="201882"/>
                </a:cubicBezTo>
                <a:lnTo>
                  <a:pt x="270989" y="217916"/>
                </a:lnTo>
                <a:cubicBezTo>
                  <a:pt x="273060" y="219972"/>
                  <a:pt x="275545" y="222438"/>
                  <a:pt x="278031" y="225316"/>
                </a:cubicBezTo>
                <a:cubicBezTo>
                  <a:pt x="280102" y="228194"/>
                  <a:pt x="282588" y="231894"/>
                  <a:pt x="283830" y="235183"/>
                </a:cubicBezTo>
                <a:cubicBezTo>
                  <a:pt x="285073" y="238883"/>
                  <a:pt x="285902" y="242583"/>
                  <a:pt x="285902" y="247106"/>
                </a:cubicBezTo>
                <a:cubicBezTo>
                  <a:pt x="285902" y="252039"/>
                  <a:pt x="285073" y="256150"/>
                  <a:pt x="283002" y="259850"/>
                </a:cubicBezTo>
                <a:cubicBezTo>
                  <a:pt x="281345" y="263550"/>
                  <a:pt x="278859" y="266017"/>
                  <a:pt x="275545" y="268073"/>
                </a:cubicBezTo>
                <a:cubicBezTo>
                  <a:pt x="272231" y="270540"/>
                  <a:pt x="268503" y="271773"/>
                  <a:pt x="263946" y="272184"/>
                </a:cubicBezTo>
                <a:lnTo>
                  <a:pt x="263946" y="281229"/>
                </a:lnTo>
                <a:lnTo>
                  <a:pt x="263946" y="283695"/>
                </a:lnTo>
                <a:cubicBezTo>
                  <a:pt x="263946" y="284929"/>
                  <a:pt x="262704" y="286162"/>
                  <a:pt x="261461" y="286162"/>
                </a:cubicBezTo>
                <a:lnTo>
                  <a:pt x="256490" y="286162"/>
                </a:lnTo>
                <a:cubicBezTo>
                  <a:pt x="255661" y="286162"/>
                  <a:pt x="254419" y="284929"/>
                  <a:pt x="254419" y="283695"/>
                </a:cubicBezTo>
                <a:lnTo>
                  <a:pt x="254419" y="271773"/>
                </a:lnTo>
                <a:cubicBezTo>
                  <a:pt x="247791" y="270540"/>
                  <a:pt x="242819" y="268073"/>
                  <a:pt x="239505" y="263550"/>
                </a:cubicBezTo>
                <a:cubicBezTo>
                  <a:pt x="235363" y="258617"/>
                  <a:pt x="232877" y="251628"/>
                  <a:pt x="232463" y="244228"/>
                </a:cubicBezTo>
                <a:cubicBezTo>
                  <a:pt x="232049" y="242583"/>
                  <a:pt x="232877" y="241350"/>
                  <a:pt x="234534" y="241350"/>
                </a:cubicBezTo>
                <a:lnTo>
                  <a:pt x="241991" y="238883"/>
                </a:lnTo>
                <a:cubicBezTo>
                  <a:pt x="243648" y="238472"/>
                  <a:pt x="245305" y="239705"/>
                  <a:pt x="245719" y="241350"/>
                </a:cubicBezTo>
                <a:cubicBezTo>
                  <a:pt x="246134" y="243817"/>
                  <a:pt x="246548" y="246694"/>
                  <a:pt x="247376" y="249161"/>
                </a:cubicBezTo>
                <a:cubicBezTo>
                  <a:pt x="248205" y="252450"/>
                  <a:pt x="249448" y="255328"/>
                  <a:pt x="251933" y="257384"/>
                </a:cubicBezTo>
                <a:cubicBezTo>
                  <a:pt x="253590" y="259850"/>
                  <a:pt x="256490" y="260673"/>
                  <a:pt x="260218" y="260673"/>
                </a:cubicBezTo>
                <a:cubicBezTo>
                  <a:pt x="264361" y="260673"/>
                  <a:pt x="267260" y="259850"/>
                  <a:pt x="269332" y="257384"/>
                </a:cubicBezTo>
                <a:cubicBezTo>
                  <a:pt x="270989" y="255328"/>
                  <a:pt x="271817" y="252450"/>
                  <a:pt x="271817" y="248339"/>
                </a:cubicBezTo>
                <a:cubicBezTo>
                  <a:pt x="271817" y="243406"/>
                  <a:pt x="270989" y="240117"/>
                  <a:pt x="268917" y="236828"/>
                </a:cubicBezTo>
                <a:cubicBezTo>
                  <a:pt x="266846" y="233950"/>
                  <a:pt x="263946" y="230661"/>
                  <a:pt x="260632" y="228194"/>
                </a:cubicBezTo>
                <a:lnTo>
                  <a:pt x="242405" y="212160"/>
                </a:lnTo>
                <a:cubicBezTo>
                  <a:pt x="240334" y="210516"/>
                  <a:pt x="238677" y="208049"/>
                  <a:pt x="237020" y="205993"/>
                </a:cubicBezTo>
                <a:cubicBezTo>
                  <a:pt x="235363" y="203527"/>
                  <a:pt x="234120" y="201060"/>
                  <a:pt x="233706" y="198182"/>
                </a:cubicBezTo>
                <a:cubicBezTo>
                  <a:pt x="232877" y="195715"/>
                  <a:pt x="232463" y="192426"/>
                  <a:pt x="232463" y="188726"/>
                </a:cubicBezTo>
                <a:cubicBezTo>
                  <a:pt x="232463" y="181326"/>
                  <a:pt x="234534" y="175571"/>
                  <a:pt x="239091" y="171459"/>
                </a:cubicBezTo>
                <a:cubicBezTo>
                  <a:pt x="242405" y="167348"/>
                  <a:pt x="247791" y="165292"/>
                  <a:pt x="254419" y="164881"/>
                </a:cubicBezTo>
                <a:lnTo>
                  <a:pt x="254419" y="153370"/>
                </a:lnTo>
                <a:cubicBezTo>
                  <a:pt x="254419" y="152137"/>
                  <a:pt x="255661" y="150903"/>
                  <a:pt x="256490" y="150903"/>
                </a:cubicBezTo>
                <a:close/>
                <a:moveTo>
                  <a:pt x="259675" y="121861"/>
                </a:moveTo>
                <a:cubicBezTo>
                  <a:pt x="207424" y="121861"/>
                  <a:pt x="165047" y="164159"/>
                  <a:pt x="165047" y="216723"/>
                </a:cubicBezTo>
                <a:cubicBezTo>
                  <a:pt x="165047" y="268876"/>
                  <a:pt x="207424" y="311174"/>
                  <a:pt x="259675" y="311174"/>
                </a:cubicBezTo>
                <a:cubicBezTo>
                  <a:pt x="312337" y="311174"/>
                  <a:pt x="354714" y="268876"/>
                  <a:pt x="354714" y="216723"/>
                </a:cubicBezTo>
                <a:cubicBezTo>
                  <a:pt x="354714" y="164159"/>
                  <a:pt x="312337" y="121861"/>
                  <a:pt x="259675" y="121861"/>
                </a:cubicBezTo>
                <a:close/>
                <a:moveTo>
                  <a:pt x="259675" y="107488"/>
                </a:moveTo>
                <a:cubicBezTo>
                  <a:pt x="320154" y="107488"/>
                  <a:pt x="369114" y="156356"/>
                  <a:pt x="369114" y="216723"/>
                </a:cubicBezTo>
                <a:cubicBezTo>
                  <a:pt x="369114" y="276679"/>
                  <a:pt x="320154" y="325958"/>
                  <a:pt x="259675" y="325958"/>
                </a:cubicBezTo>
                <a:cubicBezTo>
                  <a:pt x="199606" y="325958"/>
                  <a:pt x="150647" y="276679"/>
                  <a:pt x="150647" y="216723"/>
                </a:cubicBezTo>
                <a:cubicBezTo>
                  <a:pt x="150647" y="156356"/>
                  <a:pt x="199606" y="107488"/>
                  <a:pt x="259675" y="107488"/>
                </a:cubicBezTo>
                <a:close/>
                <a:moveTo>
                  <a:pt x="258977" y="79828"/>
                </a:moveTo>
                <a:cubicBezTo>
                  <a:pt x="183105" y="79828"/>
                  <a:pt x="121177" y="141756"/>
                  <a:pt x="121177" y="217628"/>
                </a:cubicBezTo>
                <a:cubicBezTo>
                  <a:pt x="121177" y="293500"/>
                  <a:pt x="183105" y="355018"/>
                  <a:pt x="258977" y="355018"/>
                </a:cubicBezTo>
                <a:cubicBezTo>
                  <a:pt x="334849" y="355018"/>
                  <a:pt x="396777" y="293500"/>
                  <a:pt x="396777" y="217628"/>
                </a:cubicBezTo>
                <a:cubicBezTo>
                  <a:pt x="396777" y="141756"/>
                  <a:pt x="334849" y="79828"/>
                  <a:pt x="258977" y="79828"/>
                </a:cubicBezTo>
                <a:close/>
                <a:moveTo>
                  <a:pt x="258977" y="65884"/>
                </a:moveTo>
                <a:cubicBezTo>
                  <a:pt x="343051" y="65884"/>
                  <a:pt x="410721" y="133964"/>
                  <a:pt x="410721" y="217628"/>
                </a:cubicBezTo>
                <a:cubicBezTo>
                  <a:pt x="410721" y="301292"/>
                  <a:pt x="343051" y="369372"/>
                  <a:pt x="258977" y="369372"/>
                </a:cubicBezTo>
                <a:cubicBezTo>
                  <a:pt x="175313" y="369372"/>
                  <a:pt x="107233" y="301292"/>
                  <a:pt x="107233" y="217628"/>
                </a:cubicBezTo>
                <a:cubicBezTo>
                  <a:pt x="107233" y="133964"/>
                  <a:pt x="175313" y="65884"/>
                  <a:pt x="258977" y="65884"/>
                </a:cubicBezTo>
                <a:close/>
                <a:moveTo>
                  <a:pt x="80781" y="51284"/>
                </a:moveTo>
                <a:cubicBezTo>
                  <a:pt x="79961" y="51284"/>
                  <a:pt x="78733" y="51284"/>
                  <a:pt x="77914" y="52513"/>
                </a:cubicBezTo>
                <a:cubicBezTo>
                  <a:pt x="6649" y="130366"/>
                  <a:pt x="-6458" y="249195"/>
                  <a:pt x="46786" y="340161"/>
                </a:cubicBezTo>
                <a:lnTo>
                  <a:pt x="49653" y="345078"/>
                </a:lnTo>
                <a:lnTo>
                  <a:pt x="29175" y="365156"/>
                </a:lnTo>
                <a:lnTo>
                  <a:pt x="113956" y="391790"/>
                </a:lnTo>
                <a:lnTo>
                  <a:pt x="87743" y="306971"/>
                </a:lnTo>
                <a:lnTo>
                  <a:pt x="73818" y="320902"/>
                </a:lnTo>
                <a:lnTo>
                  <a:pt x="69313" y="311888"/>
                </a:lnTo>
                <a:cubicBezTo>
                  <a:pt x="30813" y="234444"/>
                  <a:pt x="43919" y="139791"/>
                  <a:pt x="102078" y="75459"/>
                </a:cubicBezTo>
                <a:cubicBezTo>
                  <a:pt x="103307" y="74230"/>
                  <a:pt x="103307" y="72181"/>
                  <a:pt x="101669" y="70952"/>
                </a:cubicBezTo>
                <a:lnTo>
                  <a:pt x="83238" y="52103"/>
                </a:lnTo>
                <a:cubicBezTo>
                  <a:pt x="82419" y="51284"/>
                  <a:pt x="81190" y="51284"/>
                  <a:pt x="80781" y="51284"/>
                </a:cubicBezTo>
                <a:close/>
                <a:moveTo>
                  <a:pt x="80371" y="36942"/>
                </a:moveTo>
                <a:cubicBezTo>
                  <a:pt x="85286" y="36942"/>
                  <a:pt x="89791" y="38991"/>
                  <a:pt x="93477" y="42269"/>
                </a:cubicBezTo>
                <a:lnTo>
                  <a:pt x="111908" y="60708"/>
                </a:lnTo>
                <a:cubicBezTo>
                  <a:pt x="118461" y="67264"/>
                  <a:pt x="118870" y="78327"/>
                  <a:pt x="112317" y="85293"/>
                </a:cubicBezTo>
                <a:cubicBezTo>
                  <a:pt x="60712" y="142249"/>
                  <a:pt x="47196" y="226249"/>
                  <a:pt x="77504" y="296727"/>
                </a:cubicBezTo>
                <a:lnTo>
                  <a:pt x="79961" y="294268"/>
                </a:lnTo>
                <a:cubicBezTo>
                  <a:pt x="82828" y="291400"/>
                  <a:pt x="86924" y="290171"/>
                  <a:pt x="91020" y="290990"/>
                </a:cubicBezTo>
                <a:cubicBezTo>
                  <a:pt x="95115" y="291810"/>
                  <a:pt x="97982" y="294268"/>
                  <a:pt x="99621" y="297956"/>
                </a:cubicBezTo>
                <a:lnTo>
                  <a:pt x="99621" y="298366"/>
                </a:lnTo>
                <a:lnTo>
                  <a:pt x="128700" y="391380"/>
                </a:lnTo>
                <a:cubicBezTo>
                  <a:pt x="130338" y="395478"/>
                  <a:pt x="129519" y="400804"/>
                  <a:pt x="126243" y="404082"/>
                </a:cubicBezTo>
                <a:cubicBezTo>
                  <a:pt x="123785" y="406131"/>
                  <a:pt x="120509" y="407360"/>
                  <a:pt x="117642" y="407360"/>
                </a:cubicBezTo>
                <a:cubicBezTo>
                  <a:pt x="116003" y="407360"/>
                  <a:pt x="114775" y="406951"/>
                  <a:pt x="113546" y="406951"/>
                </a:cubicBezTo>
                <a:lnTo>
                  <a:pt x="20574" y="377448"/>
                </a:lnTo>
                <a:cubicBezTo>
                  <a:pt x="16888" y="375809"/>
                  <a:pt x="14021" y="372531"/>
                  <a:pt x="13202" y="368434"/>
                </a:cubicBezTo>
                <a:cubicBezTo>
                  <a:pt x="12383" y="364746"/>
                  <a:pt x="13611" y="361058"/>
                  <a:pt x="16478" y="357780"/>
                </a:cubicBezTo>
                <a:lnTo>
                  <a:pt x="31632" y="342619"/>
                </a:lnTo>
                <a:cubicBezTo>
                  <a:pt x="-21202" y="246737"/>
                  <a:pt x="-6867" y="124220"/>
                  <a:pt x="67265" y="43088"/>
                </a:cubicBezTo>
                <a:cubicBezTo>
                  <a:pt x="70541" y="39401"/>
                  <a:pt x="75456" y="36942"/>
                  <a:pt x="80371" y="36942"/>
                </a:cubicBezTo>
                <a:close/>
                <a:moveTo>
                  <a:pt x="380514" y="15748"/>
                </a:moveTo>
                <a:lnTo>
                  <a:pt x="406777" y="100126"/>
                </a:lnTo>
                <a:lnTo>
                  <a:pt x="423602" y="83742"/>
                </a:lnTo>
                <a:lnTo>
                  <a:pt x="428526" y="90296"/>
                </a:lnTo>
                <a:cubicBezTo>
                  <a:pt x="490080" y="171397"/>
                  <a:pt x="484745" y="284447"/>
                  <a:pt x="416626" y="359814"/>
                </a:cubicBezTo>
                <a:cubicBezTo>
                  <a:pt x="415395" y="361452"/>
                  <a:pt x="415395" y="363091"/>
                  <a:pt x="416626" y="364729"/>
                </a:cubicBezTo>
                <a:lnTo>
                  <a:pt x="435502" y="383161"/>
                </a:lnTo>
                <a:cubicBezTo>
                  <a:pt x="436323" y="383981"/>
                  <a:pt x="437554" y="384390"/>
                  <a:pt x="437964" y="384390"/>
                </a:cubicBezTo>
                <a:cubicBezTo>
                  <a:pt x="438785" y="384390"/>
                  <a:pt x="439606" y="383981"/>
                  <a:pt x="440426" y="383161"/>
                </a:cubicBezTo>
                <a:cubicBezTo>
                  <a:pt x="521267" y="294687"/>
                  <a:pt x="525781" y="158290"/>
                  <a:pt x="451096" y="65310"/>
                </a:cubicBezTo>
                <a:lnTo>
                  <a:pt x="446992" y="59985"/>
                </a:lnTo>
                <a:lnTo>
                  <a:pt x="465048" y="41962"/>
                </a:lnTo>
                <a:close/>
                <a:moveTo>
                  <a:pt x="380925" y="1002"/>
                </a:moveTo>
                <a:lnTo>
                  <a:pt x="474076" y="30084"/>
                </a:lnTo>
                <a:cubicBezTo>
                  <a:pt x="477769" y="31313"/>
                  <a:pt x="480641" y="34999"/>
                  <a:pt x="481052" y="38686"/>
                </a:cubicBezTo>
                <a:cubicBezTo>
                  <a:pt x="482283" y="42782"/>
                  <a:pt x="481052" y="46468"/>
                  <a:pt x="478179" y="49745"/>
                </a:cubicBezTo>
                <a:lnTo>
                  <a:pt x="466279" y="61214"/>
                </a:lnTo>
                <a:cubicBezTo>
                  <a:pt x="540964" y="159518"/>
                  <a:pt x="534808" y="300831"/>
                  <a:pt x="451096" y="392582"/>
                </a:cubicBezTo>
                <a:cubicBezTo>
                  <a:pt x="447813" y="396269"/>
                  <a:pt x="443299" y="398317"/>
                  <a:pt x="438375" y="398317"/>
                </a:cubicBezTo>
                <a:cubicBezTo>
                  <a:pt x="437964" y="398317"/>
                  <a:pt x="437964" y="398317"/>
                  <a:pt x="437554" y="398317"/>
                </a:cubicBezTo>
                <a:cubicBezTo>
                  <a:pt x="433040" y="398317"/>
                  <a:pt x="428526" y="396269"/>
                  <a:pt x="425243" y="392992"/>
                </a:cubicBezTo>
                <a:lnTo>
                  <a:pt x="406777" y="374969"/>
                </a:lnTo>
                <a:cubicBezTo>
                  <a:pt x="399801" y="368006"/>
                  <a:pt x="399801" y="357356"/>
                  <a:pt x="405956" y="349984"/>
                </a:cubicBezTo>
                <a:cubicBezTo>
                  <a:pt x="467920" y="281990"/>
                  <a:pt x="474076" y="180408"/>
                  <a:pt x="421960" y="105451"/>
                </a:cubicBezTo>
                <a:lnTo>
                  <a:pt x="414164" y="113233"/>
                </a:lnTo>
                <a:cubicBezTo>
                  <a:pt x="411291" y="116101"/>
                  <a:pt x="407188" y="117329"/>
                  <a:pt x="403494" y="116510"/>
                </a:cubicBezTo>
                <a:cubicBezTo>
                  <a:pt x="399391" y="115691"/>
                  <a:pt x="396518" y="112824"/>
                  <a:pt x="394877" y="109547"/>
                </a:cubicBezTo>
                <a:lnTo>
                  <a:pt x="394467" y="108728"/>
                </a:lnTo>
                <a:lnTo>
                  <a:pt x="365331" y="16157"/>
                </a:lnTo>
                <a:cubicBezTo>
                  <a:pt x="364100" y="11652"/>
                  <a:pt x="364921" y="6737"/>
                  <a:pt x="368204" y="3460"/>
                </a:cubicBezTo>
                <a:cubicBezTo>
                  <a:pt x="371487" y="183"/>
                  <a:pt x="376411" y="-1046"/>
                  <a:pt x="380925" y="1002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67956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outdoor, road, highway, freeway&#10;&#10;Description automatically generated">
            <a:extLst>
              <a:ext uri="{FF2B5EF4-FFF2-40B4-BE49-F238E27FC236}">
                <a16:creationId xmlns:a16="http://schemas.microsoft.com/office/drawing/2014/main" id="{D365EAA8-4486-176D-0937-8E135AD3B7E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3"/>
            <a:ext cx="12738100" cy="715383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2BEA599-B619-D55E-0324-C70684369CFA}"/>
              </a:ext>
            </a:extLst>
          </p:cNvPr>
          <p:cNvSpPr/>
          <p:nvPr/>
        </p:nvSpPr>
        <p:spPr>
          <a:xfrm rot="5400000">
            <a:off x="2788974" y="-2785813"/>
            <a:ext cx="7160154" cy="12738102"/>
          </a:xfrm>
          <a:prstGeom prst="rect">
            <a:avLst/>
          </a:prstGeom>
          <a:gradFill>
            <a:gsLst>
              <a:gs pos="0">
                <a:srgbClr val="005558">
                  <a:alpha val="79050"/>
                </a:srgbClr>
              </a:gs>
              <a:gs pos="31000">
                <a:srgbClr val="04A664">
                  <a:alpha val="76180"/>
                </a:srgbClr>
              </a:gs>
              <a:gs pos="68000">
                <a:srgbClr val="5DBE91">
                  <a:alpha val="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4253778B-44FF-941A-BC29-5C17FAF05D28}"/>
              </a:ext>
            </a:extLst>
          </p:cNvPr>
          <p:cNvSpPr txBox="1">
            <a:spLocks/>
          </p:cNvSpPr>
          <p:nvPr/>
        </p:nvSpPr>
        <p:spPr>
          <a:xfrm>
            <a:off x="3695700" y="3101180"/>
            <a:ext cx="4895849" cy="964116"/>
          </a:xfrm>
          <a:prstGeom prst="rect">
            <a:avLst/>
          </a:prstGeom>
        </p:spPr>
        <p:txBody>
          <a:bodyPr vert="horz" lIns="91416" tIns="45708" rIns="91416" bIns="45708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000" b="1" spc="300" dirty="0">
                <a:solidFill>
                  <a:schemeClr val="bg1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23737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outdoor, road, highway, freeway&#10;&#10;Description automatically generated">
            <a:extLst>
              <a:ext uri="{FF2B5EF4-FFF2-40B4-BE49-F238E27FC236}">
                <a16:creationId xmlns:a16="http://schemas.microsoft.com/office/drawing/2014/main" id="{D365EAA8-4486-176D-0937-8E135AD3B7E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3"/>
            <a:ext cx="12738100" cy="715383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2BEA599-B619-D55E-0324-C70684369CFA}"/>
              </a:ext>
            </a:extLst>
          </p:cNvPr>
          <p:cNvSpPr/>
          <p:nvPr/>
        </p:nvSpPr>
        <p:spPr>
          <a:xfrm rot="5400000">
            <a:off x="2788974" y="-2785813"/>
            <a:ext cx="7160154" cy="12738102"/>
          </a:xfrm>
          <a:prstGeom prst="rect">
            <a:avLst/>
          </a:prstGeom>
          <a:gradFill>
            <a:gsLst>
              <a:gs pos="0">
                <a:srgbClr val="005558">
                  <a:alpha val="79050"/>
                </a:srgbClr>
              </a:gs>
              <a:gs pos="31000">
                <a:srgbClr val="04A664">
                  <a:alpha val="76180"/>
                </a:srgbClr>
              </a:gs>
              <a:gs pos="68000">
                <a:srgbClr val="5DBE91">
                  <a:alpha val="0"/>
                </a:srgbClr>
              </a:gs>
            </a:gsLst>
            <a:lin ang="16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ctr"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FED4908-2B40-4955-D567-F4ADD49701BD}"/>
              </a:ext>
            </a:extLst>
          </p:cNvPr>
          <p:cNvGrpSpPr/>
          <p:nvPr/>
        </p:nvGrpSpPr>
        <p:grpSpPr>
          <a:xfrm>
            <a:off x="4140098" y="2946942"/>
            <a:ext cx="4457901" cy="2913441"/>
            <a:chOff x="4140098" y="2649159"/>
            <a:chExt cx="4457901" cy="2913441"/>
          </a:xfrm>
        </p:grpSpPr>
        <p:sp>
          <p:nvSpPr>
            <p:cNvPr id="30" name="Title 1">
              <a:extLst>
                <a:ext uri="{FF2B5EF4-FFF2-40B4-BE49-F238E27FC236}">
                  <a16:creationId xmlns:a16="http://schemas.microsoft.com/office/drawing/2014/main" id="{4253778B-44FF-941A-BC29-5C17FAF05D28}"/>
                </a:ext>
              </a:extLst>
            </p:cNvPr>
            <p:cNvSpPr txBox="1">
              <a:spLocks/>
            </p:cNvSpPr>
            <p:nvPr/>
          </p:nvSpPr>
          <p:spPr>
            <a:xfrm>
              <a:off x="4140098" y="2649159"/>
              <a:ext cx="4457901" cy="964116"/>
            </a:xfrm>
            <a:prstGeom prst="rect">
              <a:avLst/>
            </a:prstGeom>
          </p:spPr>
          <p:txBody>
            <a:bodyPr vert="horz" lIns="91416" tIns="45708" rIns="91416" bIns="45708" rtlCol="0" anchor="t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5000" b="1" spc="300" dirty="0">
                  <a:solidFill>
                    <a:schemeClr val="bg1"/>
                  </a:solidFill>
                  <a:latin typeface="Arial" panose="020B0604020202020204" pitchFamily="34" charset="0"/>
                  <a:ea typeface="DIN Condensed" panose="020B0606040000020204" pitchFamily="34" charset="77"/>
                  <a:cs typeface="Arial" panose="020B0604020202020204" pitchFamily="34" charset="0"/>
                </a:rPr>
                <a:t>THANK YOU</a:t>
              </a: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DA3D18B5-612B-5DD1-0541-84872CC907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45212" y="4882692"/>
              <a:ext cx="2447669" cy="679908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43742081-49B8-D786-EE37-853A415CDC69}"/>
              </a:ext>
            </a:extLst>
          </p:cNvPr>
          <p:cNvSpPr txBox="1"/>
          <p:nvPr/>
        </p:nvSpPr>
        <p:spPr>
          <a:xfrm>
            <a:off x="1944685" y="3735112"/>
            <a:ext cx="50958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had Elbert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Senior Account Executive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ad.J.Elbert@efleets.com</a:t>
            </a:r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704-591-133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7B5B63-2194-7722-545E-1D088F320C47}"/>
              </a:ext>
            </a:extLst>
          </p:cNvPr>
          <p:cNvSpPr txBox="1"/>
          <p:nvPr/>
        </p:nvSpPr>
        <p:spPr>
          <a:xfrm>
            <a:off x="5368182" y="3735111"/>
            <a:ext cx="50958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ob Holman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Client Strategy Manager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bert.S.Holman@efleets.com</a:t>
            </a:r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704-654-9987</a:t>
            </a:r>
          </a:p>
        </p:txBody>
      </p:sp>
    </p:spTree>
    <p:extLst>
      <p:ext uri="{BB962C8B-B14F-4D97-AF65-F5344CB8AC3E}">
        <p14:creationId xmlns:p14="http://schemas.microsoft.com/office/powerpoint/2010/main" val="322286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id="{CC10E680-DC5F-218F-B540-B690A61279C8}"/>
              </a:ext>
            </a:extLst>
          </p:cNvPr>
          <p:cNvSpPr txBox="1">
            <a:spLocks/>
          </p:cNvSpPr>
          <p:nvPr/>
        </p:nvSpPr>
        <p:spPr>
          <a:xfrm>
            <a:off x="516777" y="237058"/>
            <a:ext cx="9710031" cy="120722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TODAY’S CHALLENGES</a:t>
            </a:r>
            <a:endParaRPr kumimoji="0" lang="en-US" sz="3500" b="1" i="0" u="none" strike="noStrike" kern="1200" cap="none" spc="100" normalizeH="0" baseline="0" noProof="0" dirty="0">
              <a:ln>
                <a:noFill/>
              </a:ln>
              <a:solidFill>
                <a:srgbClr val="04A664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spc="1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TASKED TO DO MORE WITH LESS</a:t>
            </a:r>
            <a:endParaRPr kumimoji="0" lang="en-US" sz="2000" i="0" u="none" strike="noStrike" kern="1200" cap="none" spc="10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612016D-F285-5C97-3EBE-61911F051DE1}"/>
              </a:ext>
            </a:extLst>
          </p:cNvPr>
          <p:cNvGrpSpPr/>
          <p:nvPr/>
        </p:nvGrpSpPr>
        <p:grpSpPr>
          <a:xfrm>
            <a:off x="516777" y="6064622"/>
            <a:ext cx="11168718" cy="556320"/>
            <a:chOff x="516777" y="5970494"/>
            <a:chExt cx="11168718" cy="55631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AA23E04-5C18-45FF-7F8A-D935BCA76E35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1AF959A5-D204-8948-AFAA-82576750387D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826DDA5-7CF2-F93A-FCC7-07BF3ED9411B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D628346C-FC67-B346-C0BC-2CF61AEB95BE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597049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A91A705-DCFD-9DBB-4DD1-6A27E08C9B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2615" y="6182570"/>
            <a:ext cx="1735969" cy="57865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0541B5-1C82-68E2-E6DB-21EB4E38C5B1}"/>
              </a:ext>
            </a:extLst>
          </p:cNvPr>
          <p:cNvSpPr/>
          <p:nvPr/>
        </p:nvSpPr>
        <p:spPr>
          <a:xfrm>
            <a:off x="748673" y="1511041"/>
            <a:ext cx="5799713" cy="3709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1" u="none" strike="noStrike" kern="1200" cap="none" spc="0" normalizeH="0" baseline="0" noProof="0" dirty="0">
              <a:ln>
                <a:noFill/>
              </a:ln>
              <a:solidFill>
                <a:srgbClr val="07985C"/>
              </a:solidFill>
              <a:effectLst/>
              <a:uLnTx/>
              <a:uFillTx/>
              <a:latin typeface="Arial Narrow" panose="020B0606020202030204" pitchFamily="34" charset="0"/>
              <a:ea typeface="ヒラギノ角ゴ Pro W3" pitchFamily="121" charset="-128"/>
              <a:cs typeface="Arial" panose="020B0604020202020204" pitchFamily="34" charset="0"/>
            </a:endParaRPr>
          </a:p>
          <a:p>
            <a:pPr marL="0" marR="0" lvl="0" indent="0" algn="l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28B4C"/>
              </a:solidFill>
              <a:effectLst/>
              <a:uLnTx/>
              <a:uFillTx/>
              <a:latin typeface="Arial Narrow" panose="020B0606020202030204" pitchFamily="34" charset="0"/>
              <a:ea typeface="ヒラギノ角ゴ Pro W3" pitchFamily="121" charset="-128"/>
              <a:cs typeface="Arial" panose="020B0604020202020204" pitchFamily="34" charset="0"/>
            </a:endParaRPr>
          </a:p>
          <a:p>
            <a:pPr marL="285750" marR="0" lvl="0" indent="-285750" algn="l" defTabSz="609493" rtl="0" eaLnBrk="1" fontAlgn="base" latinLnBrk="0" hangingPunct="1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ヒラギノ角ゴ Pro W3" pitchFamily="121" charset="-128"/>
                <a:cs typeface="Arial" panose="020B0604020202020204" pitchFamily="34" charset="0"/>
              </a:rPr>
              <a:t>Limitations on Revenue Sources</a:t>
            </a:r>
          </a:p>
          <a:p>
            <a:pPr marL="285750" marR="0" lvl="0" indent="-285750" algn="l" defTabSz="609493" rtl="0" eaLnBrk="1" fontAlgn="base" latinLnBrk="0" hangingPunct="1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ヒラギノ角ゴ Pro W3" pitchFamily="121" charset="-128"/>
                <a:cs typeface="Arial" panose="020B0604020202020204" pitchFamily="34" charset="0"/>
              </a:rPr>
              <a:t>Underfunded and Unfunded State Mandates</a:t>
            </a:r>
          </a:p>
          <a:p>
            <a:pPr marL="285750" marR="0" lvl="0" indent="-285750" algn="l" defTabSz="609493" rtl="0" eaLnBrk="1" fontAlgn="base" latinLnBrk="0" hangingPunct="1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ヒラギノ角ゴ Pro W3" pitchFamily="121" charset="-128"/>
                <a:cs typeface="Arial" panose="020B0604020202020204" pitchFamily="34" charset="0"/>
              </a:rPr>
              <a:t>Cost of Living Adjustments</a:t>
            </a:r>
          </a:p>
          <a:p>
            <a:pPr marL="285750" marR="0" lvl="0" indent="-285750" algn="l" defTabSz="609493" rtl="0" eaLnBrk="1" fontAlgn="base" latinLnBrk="0" hangingPunct="1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2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ヒラギノ角ゴ Pro W3" pitchFamily="121" charset="-128"/>
                <a:cs typeface="Arial" panose="020B0604020202020204" pitchFamily="34" charset="0"/>
              </a:rPr>
              <a:t>Post-employee Benefits</a:t>
            </a:r>
          </a:p>
          <a:p>
            <a:pPr marL="285750" marR="0" lvl="0" indent="-285750" algn="l" defTabSz="609493" rtl="0" eaLnBrk="1" fontAlgn="base" latinLnBrk="0" hangingPunct="1">
              <a:lnSpc>
                <a:spcPct val="2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b="1" dirty="0">
                <a:solidFill>
                  <a:schemeClr val="bg1">
                    <a:lumMod val="25000"/>
                  </a:schemeClr>
                </a:solidFill>
                <a:latin typeface="Arial Narrow" panose="020B0606020202030204" pitchFamily="34" charset="0"/>
                <a:ea typeface="ヒラギノ角ゴ Pro W3" pitchFamily="121" charset="-128"/>
                <a:cs typeface="Arial" panose="020B0604020202020204" pitchFamily="34" charset="0"/>
              </a:rPr>
              <a:t>Capital Defermen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25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ヒラギノ角ゴ Pro W3" pitchFamily="121" charset="-128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2182CF-BE1D-ED0D-D174-2B67723C3785}"/>
              </a:ext>
            </a:extLst>
          </p:cNvPr>
          <p:cNvSpPr/>
          <p:nvPr/>
        </p:nvSpPr>
        <p:spPr>
          <a:xfrm>
            <a:off x="6780020" y="368800"/>
            <a:ext cx="4768931" cy="51734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797" marR="0" lvl="0" indent="-342797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9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B036E05-2C64-99FB-C5B4-8A7906624B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0021" y="1061556"/>
            <a:ext cx="4663306" cy="13930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63B3B4E-733B-6DDF-2B21-C6BB5FF41A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1562" y="2528236"/>
            <a:ext cx="4641763" cy="15531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3D3262E-003A-B94D-6911-8C6BF20F58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5956" y="4149645"/>
            <a:ext cx="4587369" cy="13926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9EF0F09-D223-A17D-89EA-856B5B75964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75481" b="54449"/>
          <a:stretch/>
        </p:blipFill>
        <p:spPr>
          <a:xfrm>
            <a:off x="7785280" y="421253"/>
            <a:ext cx="2518234" cy="5667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0639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73855" y="130701"/>
            <a:ext cx="8160110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FLEE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473855" y="67213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COMMON PRACTIC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E21F9C0-4611-B14F-3D1A-0464F159D8C2}"/>
              </a:ext>
            </a:extLst>
          </p:cNvPr>
          <p:cNvSpPr txBox="1"/>
          <p:nvPr/>
        </p:nvSpPr>
        <p:spPr>
          <a:xfrm>
            <a:off x="412260" y="1402399"/>
            <a:ext cx="6468943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Capital Budget Determines Growth &amp; Replacement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Multiple Departments with Multiple Plans &amp; Budget</a:t>
            </a:r>
          </a:p>
          <a:p>
            <a:pPr defTabSz="609493">
              <a:defRPr/>
            </a:pPr>
            <a:endParaRPr lang="en-US" b="1" u="sng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Access to Volume Buying Power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tate Contrac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TIP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E&amp;I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 err="1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ourcewell</a:t>
            </a: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heriff Association </a:t>
            </a: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Low Annual Mileage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5,000-10,000 Average Annual Miles</a:t>
            </a:r>
          </a:p>
          <a:p>
            <a:pPr lvl="1" defTabSz="609493">
              <a:defRPr/>
            </a:pP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lvl="1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Aged Flee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Typical average age of fleet is over 10 year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Underutilized vehicle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Sell through public auction or Govt Deal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46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9D1F2CF-A4AC-4F6C-9F96-E7B82D280845}"/>
              </a:ext>
            </a:extLst>
          </p:cNvPr>
          <p:cNvSpPr txBox="1">
            <a:spLocks/>
          </p:cNvSpPr>
          <p:nvPr/>
        </p:nvSpPr>
        <p:spPr>
          <a:xfrm>
            <a:off x="473855" y="130701"/>
            <a:ext cx="8160110" cy="58508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spc="100" dirty="0">
                <a:solidFill>
                  <a:srgbClr val="04A6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FLEE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91C8B4-E454-4212-BA72-500C4CCC76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509" y="130701"/>
            <a:ext cx="1624313" cy="5414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A2D83D-345C-8C3F-B7C5-3C0941DD5F5F}"/>
              </a:ext>
            </a:extLst>
          </p:cNvPr>
          <p:cNvSpPr txBox="1">
            <a:spLocks/>
          </p:cNvSpPr>
          <p:nvPr/>
        </p:nvSpPr>
        <p:spPr>
          <a:xfrm>
            <a:off x="473855" y="672139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797979"/>
                </a:solidFill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COMMON PRACTIC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97979"/>
              </a:solidFill>
              <a:effectLst/>
              <a:uLnTx/>
              <a:uFillTx/>
              <a:latin typeface="Arial" panose="020B0604020202020204" pitchFamily="34" charset="0"/>
              <a:ea typeface="DIN Condensed" panose="020B0606040000020204" pitchFamily="34" charset="77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C96E9ED-D682-85E2-A969-37F40CF33F6D}"/>
              </a:ext>
            </a:extLst>
          </p:cNvPr>
          <p:cNvGrpSpPr/>
          <p:nvPr/>
        </p:nvGrpSpPr>
        <p:grpSpPr>
          <a:xfrm>
            <a:off x="412260" y="6465319"/>
            <a:ext cx="11168718" cy="371615"/>
            <a:chOff x="516777" y="6155199"/>
            <a:chExt cx="11168718" cy="3716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4B84367-9BFE-087E-A751-2D439DF6E22E}"/>
                </a:ext>
              </a:extLst>
            </p:cNvPr>
            <p:cNvSpPr txBox="1"/>
            <p:nvPr/>
          </p:nvSpPr>
          <p:spPr>
            <a:xfrm>
              <a:off x="578372" y="6155199"/>
              <a:ext cx="11107123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© </a:t>
              </a:r>
              <a:fld id="{77972C9B-236F-D84B-86F3-C2D96442BD4B}" type="datetimeyyyy">
                <a:rPr kumimoji="0" lang="en-US" sz="7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r>
                <a:rPr kumimoji="0" lang="fr-FR" sz="700" b="0" i="0" u="none" strike="noStrike" kern="1200" cap="none" spc="0" normalizeH="0" baseline="0" noProof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Enterprise Fleet Management, Inc.</a:t>
              </a: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91426FA-3987-869D-2BAA-F0960973AFF0}"/>
                </a:ext>
              </a:extLst>
            </p:cNvPr>
            <p:cNvSpPr txBox="1"/>
            <p:nvPr/>
          </p:nvSpPr>
          <p:spPr>
            <a:xfrm>
              <a:off x="516777" y="6155199"/>
              <a:ext cx="4108337" cy="37161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700" b="0" i="0" u="none" strike="noStrike" kern="1200" cap="none" spc="100" normalizeH="0" baseline="0" noProof="0" dirty="0">
                  <a:ln>
                    <a:noFill/>
                  </a:ln>
                  <a:solidFill>
                    <a:srgbClr val="F2EFEE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FIDENTIAL AND PROPRIETARY</a:t>
              </a:r>
              <a:endParaRPr kumimoji="0" lang="en-US" sz="1100" b="0" i="0" u="none" strike="noStrike" kern="1200" cap="none" spc="100" normalizeH="0" baseline="0" noProof="0" dirty="0">
                <a:ln>
                  <a:noFill/>
                </a:ln>
                <a:solidFill>
                  <a:srgbClr val="F2EFEE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12AB7F9-41E9-8A47-2CD3-1DCF205BB559}"/>
                </a:ext>
              </a:extLst>
            </p:cNvPr>
            <p:cNvCxnSpPr>
              <a:cxnSpLocks/>
            </p:cNvCxnSpPr>
            <p:nvPr/>
          </p:nvCxnSpPr>
          <p:spPr>
            <a:xfrm>
              <a:off x="578372" y="6172624"/>
              <a:ext cx="11018783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AE21F9C0-4611-B14F-3D1A-0464F159D8C2}"/>
              </a:ext>
            </a:extLst>
          </p:cNvPr>
          <p:cNvSpPr txBox="1"/>
          <p:nvPr/>
        </p:nvSpPr>
        <p:spPr>
          <a:xfrm>
            <a:off x="412260" y="1402399"/>
            <a:ext cx="6468943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Capital Budget Determines Growth &amp; Replacement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Multiple Departments with Multiple Plans &amp; Budget</a:t>
            </a:r>
          </a:p>
          <a:p>
            <a:pPr defTabSz="609493">
              <a:defRPr/>
            </a:pPr>
            <a:endParaRPr lang="en-US" b="1" u="sng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Access to Volume Buying Power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tate Contrac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TIP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E&amp;I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 err="1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ourcewell</a:t>
            </a: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heriff Association </a:t>
            </a: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Low Annual Mileage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5,000-10,000 Average Annual Miles</a:t>
            </a:r>
          </a:p>
          <a:p>
            <a:pPr lvl="1" defTabSz="609493">
              <a:defRPr/>
            </a:pP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lvl="1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00B050"/>
                </a:solidFill>
                <a:latin typeface="Arial Narrow" panose="020B0606020202030204" pitchFamily="34" charset="0"/>
              </a:rPr>
              <a:t>Aged Flee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Typical average age of fleet is over 10 year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Underutilized vehicle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Sell through public auction or Govt Deals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3DFB1C4E-3FE5-1C34-A89E-A837801EABFA}"/>
              </a:ext>
            </a:extLst>
          </p:cNvPr>
          <p:cNvSpPr/>
          <p:nvPr/>
        </p:nvSpPr>
        <p:spPr>
          <a:xfrm>
            <a:off x="6162675" y="1484338"/>
            <a:ext cx="1009650" cy="30480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CACBC7-761A-4C54-3CB7-F742DB3706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675" y="2323354"/>
            <a:ext cx="1030313" cy="34140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AF40125-7A6A-65E4-CB56-DD22F35AD5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675" y="3851835"/>
            <a:ext cx="1030313" cy="34140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5089587-695C-10F6-7669-7DAFE76865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675" y="4709154"/>
            <a:ext cx="1030313" cy="34140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ED776A3-911E-EECD-72EA-B2785265C856}"/>
              </a:ext>
            </a:extLst>
          </p:cNvPr>
          <p:cNvSpPr txBox="1"/>
          <p:nvPr/>
        </p:nvSpPr>
        <p:spPr>
          <a:xfrm>
            <a:off x="7308361" y="1402399"/>
            <a:ext cx="4778864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FF0000"/>
                </a:solidFill>
                <a:latin typeface="Arial Narrow" panose="020B0606020202030204" pitchFamily="34" charset="0"/>
              </a:rPr>
              <a:t>Capital Defermen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Once behind in replacements, its hard to catch up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Requires significant capital investment to get back on track</a:t>
            </a:r>
          </a:p>
          <a:p>
            <a:pPr defTabSz="609493">
              <a:defRPr/>
            </a:pPr>
            <a:endParaRPr lang="en-US" b="1" u="sng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FF0000"/>
                </a:solidFill>
                <a:latin typeface="Arial Narrow" panose="020B0606020202030204" pitchFamily="34" charset="0"/>
              </a:rPr>
              <a:t>Great Vehicle Pricing!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Significantly lower than commercial or retail</a:t>
            </a:r>
          </a:p>
          <a:p>
            <a:pPr lvl="1" defTabSz="609493">
              <a:defRPr/>
            </a:pP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66694" lvl="2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FF0000"/>
                </a:solidFill>
                <a:latin typeface="Arial Narrow" panose="020B0606020202030204" pitchFamily="34" charset="0"/>
              </a:rPr>
              <a:t>Keep in Fleet Longer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Low mileage is often used to justify capital deferment</a:t>
            </a:r>
          </a:p>
          <a:p>
            <a:pPr lvl="1" defTabSz="609493">
              <a:defRPr/>
            </a:pP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lvl="1" defTabSz="609493"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 defTabSz="609493">
              <a:buFont typeface="Wingdings" panose="05000000000000000000" pitchFamily="2" charset="2"/>
              <a:buChar char=""/>
              <a:defRPr/>
            </a:pPr>
            <a:r>
              <a:rPr lang="en-US" b="1" u="sng" dirty="0">
                <a:solidFill>
                  <a:srgbClr val="FF0000"/>
                </a:solidFill>
                <a:latin typeface="Arial Narrow" panose="020B0606020202030204" pitchFamily="34" charset="0"/>
              </a:rPr>
              <a:t>Aged Fleet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Increased Operating Expenses (Maintenance, Fuel </a:t>
            </a:r>
            <a:r>
              <a:rPr lang="en-US" sz="1400" dirty="0" err="1">
                <a:solidFill>
                  <a:prstClr val="black"/>
                </a:solidFill>
                <a:latin typeface="Arial Narrow" panose="020B0606020202030204" pitchFamily="34" charset="0"/>
              </a:rPr>
              <a:t>etc</a:t>
            </a: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)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Increased Downtime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Poor image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Decreased Fuel Economy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r>
              <a:rPr lang="en-US" sz="1400" dirty="0">
                <a:solidFill>
                  <a:prstClr val="black"/>
                </a:solidFill>
                <a:latin typeface="Arial Narrow" panose="020B0606020202030204" pitchFamily="34" charset="0"/>
              </a:rPr>
              <a:t>Decreased Safety </a:t>
            </a: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 defTabSz="609493">
              <a:buFont typeface="Symbol" panose="05050102010706020507" pitchFamily="18" charset="2"/>
              <a:buChar char="-"/>
              <a:defRPr/>
            </a:pPr>
            <a:endParaRPr lang="en-US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CC049C-101E-60F0-6710-6DFC1A7FD07C}"/>
              </a:ext>
            </a:extLst>
          </p:cNvPr>
          <p:cNvSpPr txBox="1">
            <a:spLocks/>
          </p:cNvSpPr>
          <p:nvPr/>
        </p:nvSpPr>
        <p:spPr>
          <a:xfrm>
            <a:off x="8060549" y="689564"/>
            <a:ext cx="3657598" cy="4220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97979"/>
                </a:solidFill>
                <a:effectLst/>
                <a:uLnTx/>
                <a:uFillTx/>
                <a:latin typeface="Arial" panose="020B0604020202020204" pitchFamily="34" charset="0"/>
                <a:ea typeface="DIN Condensed" panose="020B0606040000020204" pitchFamily="34" charset="77"/>
                <a:cs typeface="Arial" panose="020B0604020202020204" pitchFamily="34" charset="0"/>
              </a:rPr>
              <a:t>CHALLENGES CREATED</a:t>
            </a:r>
          </a:p>
        </p:txBody>
      </p:sp>
    </p:spTree>
    <p:extLst>
      <p:ext uri="{BB962C8B-B14F-4D97-AF65-F5344CB8AC3E}">
        <p14:creationId xmlns:p14="http://schemas.microsoft.com/office/powerpoint/2010/main" val="403751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E513B8E-6621-DAC8-69EC-DFAF7DAB2BF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3422" y="397594"/>
            <a:ext cx="1735969" cy="578656"/>
          </a:xfrm>
          <a:prstGeom prst="rect">
            <a:avLst/>
          </a:prstGeom>
        </p:spPr>
      </p:pic>
      <p:sp>
        <p:nvSpPr>
          <p:cNvPr id="7" name="Text 0">
            <a:extLst>
              <a:ext uri="{FF2B5EF4-FFF2-40B4-BE49-F238E27FC236}">
                <a16:creationId xmlns:a16="http://schemas.microsoft.com/office/drawing/2014/main" id="{404F0E40-CE88-B2DD-D513-9DC1442AC263}"/>
              </a:ext>
            </a:extLst>
          </p:cNvPr>
          <p:cNvSpPr/>
          <p:nvPr/>
        </p:nvSpPr>
        <p:spPr>
          <a:xfrm>
            <a:off x="950976" y="265176"/>
            <a:ext cx="3026664" cy="402336"/>
          </a:xfrm>
          <a:prstGeom prst="rect">
            <a:avLst/>
          </a:prstGeom>
          <a:noFill/>
          <a:ln/>
        </p:spPr>
        <p:txBody>
          <a:bodyPr wrap="square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EXAMPLE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 1">
            <a:extLst>
              <a:ext uri="{FF2B5EF4-FFF2-40B4-BE49-F238E27FC236}">
                <a16:creationId xmlns:a16="http://schemas.microsoft.com/office/drawing/2014/main" id="{82A8BF8D-E9D4-7DCF-E479-B60830C86183}"/>
              </a:ext>
            </a:extLst>
          </p:cNvPr>
          <p:cNvSpPr/>
          <p:nvPr/>
        </p:nvSpPr>
        <p:spPr>
          <a:xfrm>
            <a:off x="932688" y="649224"/>
            <a:ext cx="3657600" cy="576072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Fleet Profile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Image 0" descr="/tco-web/data-viz-vue/img/fleet_profile_one_box.png">
            <a:extLst>
              <a:ext uri="{FF2B5EF4-FFF2-40B4-BE49-F238E27FC236}">
                <a16:creationId xmlns:a16="http://schemas.microsoft.com/office/drawing/2014/main" id="{11F9023E-1218-E2B2-BE51-5236209C3C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2232" y="1197864"/>
            <a:ext cx="7616952" cy="3749040"/>
          </a:xfrm>
          <a:prstGeom prst="rect">
            <a:avLst/>
          </a:prstGeom>
        </p:spPr>
      </p:pic>
      <p:pic>
        <p:nvPicPr>
          <p:cNvPr id="10" name="Image 1" descr="/tco-web/data-viz-vue/img/fleet_profile_one_donut_circle.png">
            <a:extLst>
              <a:ext uri="{FF2B5EF4-FFF2-40B4-BE49-F238E27FC236}">
                <a16:creationId xmlns:a16="http://schemas.microsoft.com/office/drawing/2014/main" id="{1C5A1438-A610-4D48-D58B-ADF625D8DD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5336" y="3026664"/>
            <a:ext cx="1700784" cy="1709928"/>
          </a:xfrm>
          <a:prstGeom prst="rect">
            <a:avLst/>
          </a:prstGeom>
        </p:spPr>
      </p:pic>
      <p:sp>
        <p:nvSpPr>
          <p:cNvPr id="11" name="Text 2">
            <a:extLst>
              <a:ext uri="{FF2B5EF4-FFF2-40B4-BE49-F238E27FC236}">
                <a16:creationId xmlns:a16="http://schemas.microsoft.com/office/drawing/2014/main" id="{BAC9D843-774D-D9FE-19DA-7F96CC419F1A}"/>
              </a:ext>
            </a:extLst>
          </p:cNvPr>
          <p:cNvSpPr/>
          <p:nvPr/>
        </p:nvSpPr>
        <p:spPr>
          <a:xfrm>
            <a:off x="1847088" y="3438144"/>
            <a:ext cx="1161288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Manufactur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in fleet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hape 3">
            <a:extLst>
              <a:ext uri="{FF2B5EF4-FFF2-40B4-BE49-F238E27FC236}">
                <a16:creationId xmlns:a16="http://schemas.microsoft.com/office/drawing/2014/main" id="{5D347805-870F-3FE2-36E1-C673D263D878}"/>
              </a:ext>
            </a:extLst>
          </p:cNvPr>
          <p:cNvSpPr/>
          <p:nvPr/>
        </p:nvSpPr>
        <p:spPr>
          <a:xfrm>
            <a:off x="3977640" y="393192"/>
            <a:ext cx="0" cy="804672"/>
          </a:xfrm>
          <a:prstGeom prst="line">
            <a:avLst/>
          </a:prstGeom>
          <a:noFill/>
          <a:ln w="25400">
            <a:solidFill>
              <a:srgbClr val="E7E6E6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A6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4">
            <a:extLst>
              <a:ext uri="{FF2B5EF4-FFF2-40B4-BE49-F238E27FC236}">
                <a16:creationId xmlns:a16="http://schemas.microsoft.com/office/drawing/2014/main" id="{B152F82F-5616-0ED1-23CF-CA8C6D876ADC}"/>
              </a:ext>
            </a:extLst>
          </p:cNvPr>
          <p:cNvSpPr/>
          <p:nvPr/>
        </p:nvSpPr>
        <p:spPr>
          <a:xfrm>
            <a:off x="4306824" y="393192"/>
            <a:ext cx="3200400" cy="38404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Total fleet size:   Total fleet value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 5">
            <a:extLst>
              <a:ext uri="{FF2B5EF4-FFF2-40B4-BE49-F238E27FC236}">
                <a16:creationId xmlns:a16="http://schemas.microsoft.com/office/drawing/2014/main" id="{D8217674-D9E9-4581-03E7-96CCB85B4FB5}"/>
              </a:ext>
            </a:extLst>
          </p:cNvPr>
          <p:cNvSpPr/>
          <p:nvPr/>
        </p:nvSpPr>
        <p:spPr>
          <a:xfrm>
            <a:off x="4306824" y="649224"/>
            <a:ext cx="1371600" cy="6400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895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49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 6">
            <a:extLst>
              <a:ext uri="{FF2B5EF4-FFF2-40B4-BE49-F238E27FC236}">
                <a16:creationId xmlns:a16="http://schemas.microsoft.com/office/drawing/2014/main" id="{D676A5AE-E5B3-52F3-8B34-2B4B0CBD3F5E}"/>
              </a:ext>
            </a:extLst>
          </p:cNvPr>
          <p:cNvSpPr/>
          <p:nvPr/>
        </p:nvSpPr>
        <p:spPr>
          <a:xfrm>
            <a:off x="5623560" y="649224"/>
            <a:ext cx="4425696" cy="64008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895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$586,813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hape 7">
            <a:extLst>
              <a:ext uri="{FF2B5EF4-FFF2-40B4-BE49-F238E27FC236}">
                <a16:creationId xmlns:a16="http://schemas.microsoft.com/office/drawing/2014/main" id="{2FC5C109-0094-EF08-410A-32BA34019555}"/>
              </a:ext>
            </a:extLst>
          </p:cNvPr>
          <p:cNvSpPr/>
          <p:nvPr/>
        </p:nvSpPr>
        <p:spPr>
          <a:xfrm>
            <a:off x="10241280" y="3108960"/>
            <a:ext cx="1179576" cy="0"/>
          </a:xfrm>
          <a:prstGeom prst="line">
            <a:avLst/>
          </a:prstGeom>
          <a:noFill/>
          <a:ln w="12700">
            <a:solidFill>
              <a:srgbClr val="E7E6E6"/>
            </a:solidFill>
            <a:prstDash val="solid"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4A6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 8">
            <a:extLst>
              <a:ext uri="{FF2B5EF4-FFF2-40B4-BE49-F238E27FC236}">
                <a16:creationId xmlns:a16="http://schemas.microsoft.com/office/drawing/2014/main" id="{EB769982-6223-E2DB-9186-D08E8B1A3F77}"/>
              </a:ext>
            </a:extLst>
          </p:cNvPr>
          <p:cNvSpPr/>
          <p:nvPr/>
        </p:nvSpPr>
        <p:spPr>
          <a:xfrm>
            <a:off x="10158984" y="2084832"/>
            <a:ext cx="1490472" cy="521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vg hold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Period (in year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9">
            <a:extLst>
              <a:ext uri="{FF2B5EF4-FFF2-40B4-BE49-F238E27FC236}">
                <a16:creationId xmlns:a16="http://schemas.microsoft.com/office/drawing/2014/main" id="{46807933-EB22-A66C-2727-41CF2D77C17C}"/>
              </a:ext>
            </a:extLst>
          </p:cNvPr>
          <p:cNvSpPr/>
          <p:nvPr/>
        </p:nvSpPr>
        <p:spPr>
          <a:xfrm>
            <a:off x="10158984" y="2596896"/>
            <a:ext cx="1490472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14.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 10">
            <a:extLst>
              <a:ext uri="{FF2B5EF4-FFF2-40B4-BE49-F238E27FC236}">
                <a16:creationId xmlns:a16="http://schemas.microsoft.com/office/drawing/2014/main" id="{3A91B0A0-F976-79B7-ADE3-B7D47DDD29E0}"/>
              </a:ext>
            </a:extLst>
          </p:cNvPr>
          <p:cNvSpPr/>
          <p:nvPr/>
        </p:nvSpPr>
        <p:spPr>
          <a:xfrm>
            <a:off x="10158984" y="3209544"/>
            <a:ext cx="1490472" cy="521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vg annu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cquisi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 11">
            <a:extLst>
              <a:ext uri="{FF2B5EF4-FFF2-40B4-BE49-F238E27FC236}">
                <a16:creationId xmlns:a16="http://schemas.microsoft.com/office/drawing/2014/main" id="{E8ECB3FB-D4EA-D3FC-23B5-475A06AEE604}"/>
              </a:ext>
            </a:extLst>
          </p:cNvPr>
          <p:cNvSpPr/>
          <p:nvPr/>
        </p:nvSpPr>
        <p:spPr>
          <a:xfrm>
            <a:off x="10158984" y="3712464"/>
            <a:ext cx="1490472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3.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Text 12">
            <a:extLst>
              <a:ext uri="{FF2B5EF4-FFF2-40B4-BE49-F238E27FC236}">
                <a16:creationId xmlns:a16="http://schemas.microsoft.com/office/drawing/2014/main" id="{A8700CE3-57A0-7E01-6596-85A708841E90}"/>
              </a:ext>
            </a:extLst>
          </p:cNvPr>
          <p:cNvSpPr/>
          <p:nvPr/>
        </p:nvSpPr>
        <p:spPr>
          <a:xfrm>
            <a:off x="4690872" y="4764024"/>
            <a:ext cx="22860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Odometer distribution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13">
            <a:extLst>
              <a:ext uri="{FF2B5EF4-FFF2-40B4-BE49-F238E27FC236}">
                <a16:creationId xmlns:a16="http://schemas.microsoft.com/office/drawing/2014/main" id="{C5AA3E34-1D88-6050-6F11-DDA20DE2EFC0}"/>
              </a:ext>
            </a:extLst>
          </p:cNvPr>
          <p:cNvSpPr/>
          <p:nvPr/>
        </p:nvSpPr>
        <p:spPr>
          <a:xfrm>
            <a:off x="4690872" y="4946904"/>
            <a:ext cx="333756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verage Odometer: 62,865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Image 2" descr="data:image/png;base64,iVBORw0KGgoAAAANSUhEUgAAAJ4AAAAzCAMAAABR2UF5AAAApVBMVEVMaXGyrKutpqSnoJ6zraynoJ6xqqmup6a3sa+wqqiqo6GrpKKwqqinoJ6xq6mup6WyrKqspqStp6WnoJ6vqae1r62tpqSxqqmnoJ6yrKqnoJ7////p5+c9NjN+eXfy8vH5+fmnoJ7Y19akoaCLhoXl5ORxbGlkXlyYlJJKQ0FXUU7Lycn08/Oxr63Iw8Le29rTz87u7e3Nyci3srC+vLvCvbzY1dRg6MbxAAAAG3RSTlMAuN8Q4CCQ0Pyy+fvEUP15pYisQNSY8Nhg3DBCVk7DAAAACXBIWXMAAAsSAAALEgHS3X78AAACNklEQVRYheXY25KiMBAG4OiuDsxhz+emQUhIAog6s7P7/o+2lQ7gCW/Uil21/4WV1FjyTdIJEPFfJY45/7dxFDH2xdFiwdcXRwsAtj7SsfV1Oqa+QcfSt6Nj6NvTsfMd6Jj5jnSsfCO6q/vePH19vDsr0zGd803P+73H+dMhbjbJo806OS+jOoDFmT+3fonuP812dfN8tRy/xm2yXN2/387rXfTMCeeSvBtKd/r7xPTcMsPS+jBe2rf3fXS6zw+sym6b59ytj+8bLp7DvEyEmD2wnFqXZT4T8xUDyIn8+SG+rFnKKH8n4lvCwHEiyU+Rs4T5JG8v4bVIyQDKFBFtBpC63pAUsfTtGlPXLULy5MAz1NAjPEmNBgPzZAqg667ToC6hqLE84tWaGjbs6NkKDUB3bTeMDX22nqdQ9TzlZ7dW4XiZRaxtBiUqjaiGiivQUsuihZ7X0Ow22ITilQrR0mUaX3oGwFT0F1SOJwed69EIK5OF4hl3IYqklkXZ8RwhRdnPrOdJN7uVDMbbjp5Phnpv9Gg4t7wCJbRYBuNta69LZfZqT6tuM/E8MBpSDQF5/crVtCrdmPmV2/qVm9VVT3c8WRVVG5hH+56vPYWv3b5nun2vHarP9UrUVRac5+LvFSnds3bvGqZnUE+7b9yClynEigqt0LizAxb96qCexNcLeMwfqJg/jjJ/mP/F+1WI8YvkZsL/NZz5IQb3IyDuB2jMjx8vPby9co4Pby86+r52hqNvIcQ/T6lvPR8UtlwAAAAASUVORK5CYII=">
            <a:extLst>
              <a:ext uri="{FF2B5EF4-FFF2-40B4-BE49-F238E27FC236}">
                <a16:creationId xmlns:a16="http://schemas.microsoft.com/office/drawing/2014/main" id="{DEB716FE-A18F-42AC-74B4-47808CD9AA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7720" y="6245352"/>
            <a:ext cx="1033272" cy="329184"/>
          </a:xfrm>
          <a:prstGeom prst="rect">
            <a:avLst/>
          </a:prstGeom>
        </p:spPr>
      </p:pic>
      <p:pic>
        <p:nvPicPr>
          <p:cNvPr id="25" name="Image 3" descr="data:image/png;base64,iVBORw0KGgoAAAANSUhEUgAAAJ8AAAAzCAMAAAC+GypHAAAAqFBMVEVMaXGup6a4s7GtpqSnoJ6vqae5s7Gup6arpKOnoJ68trWspqSnoJ6tpqSspqSup6a3sa+vqaeyrKunoJ6noJ6wqqiqo6Gup6WnoJ6yrKqpo6GpoqCxqqn////p5+c9NjOkoaBKQ0FkXlzy8vG+vLt+eXdXUU6LhoVxbGnY19aYlJLTz87Iw8Lu7e2xr63l5OTLycnCvbynoJ75+fnY1dTj4eHe29r08/Pgw6HHAAAAHXRSTlMA4u/wQGqg0PwQ+4gw3+6//NS4YCD7+Hlwyff2kM/qRKcAAAAJcEhZcwAACxIAAAsSAdLdfvwAAAKuSURBVFiF5dh7c+IgEABwemrPqG3v/cYFkgCJXqL29f2/2Q2QpCTB3owy497c/tFZOgz5CQsayP8Vs5sE8+edzfdXiIGz+W+6xQs0PIoX6HhogS0PKfCFhxLo8xAC+zx0wCEPGXDMQwUM8eIDV8sPb0+LII/S7e2J411//DTEJcvJ5+3D+rR4DvIoPXG4x83+8H7a400ni/WRh1wk7jfzO686ZvMnTDoT9/ur1ev1fenY/mxmcIqSR+n2xvkmDwgwoXi3NLyvC3wyF+svZoVvHzFYgrGYEbKaI4Q18fSdkG97FJRgPB8Iud4ghLVxSHD73kz/4qvARkppnQNAmVKam9Y4cmH/VQJAXvgZg8zrzAAqlyngpsnO8rHOJ2yij/lKEO6hJrifjXy5y3gMn5ZNsgNd00JCHfSlGpyPy8w0Ki8b+iS3SWaTc31Sd+Pu7N/K+RQonwdQcWE/hXlcAcrLrK8CnTbjKLfAuRDn+2pQGkB1VVdAabMSyl6/MqXW18wVF4Msg5fPmUm7wJxF8O1c+QlKBW+8xscGvEZiqtBuDSm9jEFW8JZnWsoMVfE0go/ZYi6BNb4UcpoD6y1uwCe4lzFgXHgjZjuzwFrTCD4XKeje/Lm94Da0iXYlj80fAK89H5U5raGK5zPP9utPKzNqyBeuP1m2Z4rrUXLKOI3h01A3s+b2b+X2byr56Izx9m/d7d+62b+6O2NMaweZUFF8rv6UHdOcf6I5/6pxBfLXzr+6q0A7r9J6Y6yvW0SDlL3vD+HKa+TLbS+ZepkVla3DthhIGseXKgBuhyg0eCdhAWLQ0/lMf9CFn7lKbCvCtgp7PsXbHxeLQ4L+9yn23/fY34/Qv19ifz9Hf7+B9X7oR/KP3K+hv58kJPl1xv1u5Ajc79o5PPl+PHZ09+OEkD+nbKHoccj2ywAAAABJRU5ErkJggg==">
            <a:extLst>
              <a:ext uri="{FF2B5EF4-FFF2-40B4-BE49-F238E27FC236}">
                <a16:creationId xmlns:a16="http://schemas.microsoft.com/office/drawing/2014/main" id="{51982442-937B-A5ED-EE7C-8EC25FAFCB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9360" y="6245352"/>
            <a:ext cx="1033272" cy="329184"/>
          </a:xfrm>
          <a:prstGeom prst="rect">
            <a:avLst/>
          </a:prstGeom>
        </p:spPr>
      </p:pic>
      <p:pic>
        <p:nvPicPr>
          <p:cNvPr id="26" name="Image 4" descr="data:image/png;base64,iVBORw0KGgoAAAANSUhEUgAAAJ8AAAAzCAMAAAC+GypHAAAArlBMVEVMaXGnoJ6noJ6rpKOnoJ6noJ6vqaeup6anoJ6qo6GvqaewqqispqSnoJ6vqaetpqSqo6Gvqae3sa+noJ6yrKuup6W1sK6xqqmqpKKyrKq6tLO1sK6yrKqrpaP////p5+c9NjPY19aYlJJKQ0GkoaBXUU5+eXfy8vFkXly+vLuLhoVxbGnIw8LTz86xr63e29rl5OS9t7bLycn5+fmnoJ7Y1dTj4eHCvbz08/Pu7e1ctx46AAAAHnRSTlMAIBD8QIBq0DD51PvucJ7w+OX8ULh5rNj6yfP5pezJ0/XVAAAACXBIWXMAAAsSAAALEgHS3X78AAACxklEQVRYheWYaZObMAyG6W7aJnt0e9/1yhdnQlhybPv//1hHMiYmkO0MoVPN9P0Q5IyxH2RZBkX/l+Y/5pyfd754WDAGnC+WYs0XEPEEX0CHxxbQ4zEFPOCxBAzxGAJ28dgBHuMxA+zjsQIcwpse8Nntx5fjNIiHgCPHe/+h/2TvPn1+XN2P1CCeEL9GDrdaXt686Pru6nq9OTHLP9H67ZvAh/PXS1Z0qN22deF8sWYAdKz7ywbw4m7Hi6zRvkkArx5Z4PS1uqK9sf3JDazR5nqG7hvOXhy0+xJF0c2eLd9mexFdbBmAnNK3WTT7yhONtLyNZg8MOE5p9fxJvjiliwKAWIaWgWyov4EELxZQCv+wAEUphKSWlwTInVkCSCEhHsengPhymk6H1jBfBo5Pe76SDKj7fNZZxRl8SQGOT9sMG2VgDfKhc5Gvxq7N9AYfKu/xWahpCm1H8yUApU5pOkNj5oFFfCUUSXBDCnlMfKWbHJ+swF9rHV+lrWz4ck0LbHQ+3n8qEcTX+EqnR1YGRae/kcLx5dpoSA9RF0OCVmVt5f2nYlrgIlbnxJ/jwyGcFw6WgUw653Tk+AoXdaXIyN8ih0qCSlKPh3zk4wqy6fhSHVgGjHZ7e4BPaynQW55PgZSgUu3xyK+4wMYN+Vf8B4DzKfDyK9neq6AO/UcODfhwgW0+Bd9w/FmFoz7BhyEQxB8YbUO+DGoJ9RR8btdW7f6tmv1b9HMM8dUu+eZQdfevaXMMcWulrJiC71T+q/oRGMSftGmT/5TPf20EUiu3Vk3DF9MC2iSwaKWVC68enzs1NB2D4fmReQ5q1Xh0TMKX4LFWyNBykWh10u3fxF+ZNv2F0RBkwriJCNeyfvP9gY/5+xX391Pu7/fsv4+4f19G33l/n7Ovb3CvD7GvrzGsT+479clz67sTq1/fPa8+PrXa+ngURb8BzSm9mz/2yqgAAAAASUVORK5CYII=">
            <a:extLst>
              <a:ext uri="{FF2B5EF4-FFF2-40B4-BE49-F238E27FC236}">
                <a16:creationId xmlns:a16="http://schemas.microsoft.com/office/drawing/2014/main" id="{AFB9BE5D-456C-B391-A124-D31E5C1E64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8432" y="6245352"/>
            <a:ext cx="1033272" cy="329184"/>
          </a:xfrm>
          <a:prstGeom prst="rect">
            <a:avLst/>
          </a:prstGeom>
        </p:spPr>
      </p:pic>
      <p:pic>
        <p:nvPicPr>
          <p:cNvPr id="27" name="Image 5" descr="data:image/png;base64,iVBORw0KGgoAAAANSUhEUgAAAJ4AAAAzCAMAAABR2UF5AAAAqFBMVEVMaXGvqaetpqSup6WzrayspaOnoJ6up6awqqi3sa+rpKOqo6GxqqmnoJ6noJ6xqqmqo6Gup6arpaOwqqinoJ6noJ6yrKu1r62wqqi1sK6yrKqnoJ6vqaf////p5+c9NjN+eXekoaBKQ0Hy8vFkXly+vLunoJ75+fnY19ZxbGmxr62LhoXu7e3l5ORXUU6YlJL08/PIw8LTz87LycnNycje29rY1dTj4eFbMrsWAAAAHXRSTlMAnt954P4Q0LL8/PnYUCCQ+OL9+0AwuJjE+aVg1HBxP70AAAAJcEhZcwAACxIAAAsSAdLdfvwAAAJZSURBVFiF5dhZc5swEABg2W1dyN30PpZFhw+hALZJ2v//zzo6wLJNXoiJdyb74jXDmM/alQCxNxVJQvnfJukHwr4kXT7Q9SXpEoCsz+nI+oKOqK/TkfRFOoK+PR0534GOmO9IR8rXozu5b3b9/eOwmPbprG867Pd+3F4f4m6+LdLtUzYsenUA64E/9/T4824yi3W3i+26/xrniYfN5btdXacpKZyN7L5t3dmnzTPlOWcs06SdePRw1vfZ1ffLBcGxs5Fd3jDGrv4SoPTGJmHs6wVBmI/1YsYmjxQk/ZH+Zlf/KMJ8bH+xBbklbxfZH7agYumJ7P1w3grn9qNAFxJgrhErDgBCxefliKXPKszt19Vr8MrK83jLK4VLeA+Pu6TBcXk53+WFQM/TVTjC7cULrI55lXZJPfLoKRR1SGvU3PPCtQG08JjS8xQWLc/46lZmXJ6sK8Ra2nRegOeVaDSike2Y2aM20x7veI2rboPN6L23qhGN73TPa3zrKZD22ra6heXlnQ5ylG6EjZKvMTVyVBHPdRzUyANvjhyEMm1lPY/b6go+Pu9o9HxI1PHoIaKJeSvkUGA5Mi/qvQOerWfUe2jUDpGjBKUh1zAyL5q5HU+7WVmiCTPX+JnbYLe4WB4XK1GMzYvXvf3eMzgP654I696u+yyvRC3k2Lz9CMVVbubm9iYX3zWkaJdrywNtzzgHTxpE4Ya1UCFzXcixjnju5CG8O9oPVMQfR4k/zBN/FSL+Ikn9NZz4Jgb1LSDiG2iMsQnl7ceXbt6eOI43b1+09X3q6La+GWP/ARrdna0Ywd+WAAAAAElFTkSuQmCC">
            <a:extLst>
              <a:ext uri="{FF2B5EF4-FFF2-40B4-BE49-F238E27FC236}">
                <a16:creationId xmlns:a16="http://schemas.microsoft.com/office/drawing/2014/main" id="{1A6C12B1-50B3-0140-A3C1-A66E189B26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38360" y="6245352"/>
            <a:ext cx="1033272" cy="329184"/>
          </a:xfrm>
          <a:prstGeom prst="rect">
            <a:avLst/>
          </a:prstGeom>
        </p:spPr>
      </p:pic>
      <p:pic>
        <p:nvPicPr>
          <p:cNvPr id="28" name="Image 6" descr="preencoded.png">
            <a:extLst>
              <a:ext uri="{FF2B5EF4-FFF2-40B4-BE49-F238E27FC236}">
                <a16:creationId xmlns:a16="http://schemas.microsoft.com/office/drawing/2014/main" id="{CC1D25D2-48AC-9E6B-C45D-68DEBCEBA8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81728" y="5285232"/>
            <a:ext cx="914400" cy="914400"/>
          </a:xfrm>
          <a:prstGeom prst="rect">
            <a:avLst/>
          </a:prstGeom>
        </p:spPr>
      </p:pic>
      <p:sp>
        <p:nvSpPr>
          <p:cNvPr id="29" name="Text 14">
            <a:extLst>
              <a:ext uri="{FF2B5EF4-FFF2-40B4-BE49-F238E27FC236}">
                <a16:creationId xmlns:a16="http://schemas.microsoft.com/office/drawing/2014/main" id="{A82D7FA5-6087-93C3-7089-477066317589}"/>
              </a:ext>
            </a:extLst>
          </p:cNvPr>
          <p:cNvSpPr/>
          <p:nvPr/>
        </p:nvSpPr>
        <p:spPr>
          <a:xfrm>
            <a:off x="4681728" y="5486400"/>
            <a:ext cx="905256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94F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65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 15">
            <a:extLst>
              <a:ext uri="{FF2B5EF4-FFF2-40B4-BE49-F238E27FC236}">
                <a16:creationId xmlns:a16="http://schemas.microsoft.com/office/drawing/2014/main" id="{BA3C9CC4-8E2B-21D9-E092-BF46813618BC}"/>
              </a:ext>
            </a:extLst>
          </p:cNvPr>
          <p:cNvSpPr/>
          <p:nvPr/>
        </p:nvSpPr>
        <p:spPr>
          <a:xfrm>
            <a:off x="4681728" y="5806440"/>
            <a:ext cx="905256" cy="2194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32 vehicl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Image 7" descr="preencoded.png">
            <a:extLst>
              <a:ext uri="{FF2B5EF4-FFF2-40B4-BE49-F238E27FC236}">
                <a16:creationId xmlns:a16="http://schemas.microsoft.com/office/drawing/2014/main" id="{19AE2688-64BB-CF29-943D-C6BCCD1C102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82512" y="5285232"/>
            <a:ext cx="914400" cy="914400"/>
          </a:xfrm>
          <a:prstGeom prst="rect">
            <a:avLst/>
          </a:prstGeom>
        </p:spPr>
      </p:pic>
      <p:sp>
        <p:nvSpPr>
          <p:cNvPr id="32" name="Text 16">
            <a:extLst>
              <a:ext uri="{FF2B5EF4-FFF2-40B4-BE49-F238E27FC236}">
                <a16:creationId xmlns:a16="http://schemas.microsoft.com/office/drawing/2014/main" id="{6EE8AF8B-F2D7-EA14-25D6-06372BF9A88C}"/>
              </a:ext>
            </a:extLst>
          </p:cNvPr>
          <p:cNvSpPr/>
          <p:nvPr/>
        </p:nvSpPr>
        <p:spPr>
          <a:xfrm>
            <a:off x="6382512" y="5486400"/>
            <a:ext cx="905256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8BDC6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14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 17">
            <a:extLst>
              <a:ext uri="{FF2B5EF4-FFF2-40B4-BE49-F238E27FC236}">
                <a16:creationId xmlns:a16="http://schemas.microsoft.com/office/drawing/2014/main" id="{18255286-B123-7932-7A27-60C6739276AE}"/>
              </a:ext>
            </a:extLst>
          </p:cNvPr>
          <p:cNvSpPr/>
          <p:nvPr/>
        </p:nvSpPr>
        <p:spPr>
          <a:xfrm>
            <a:off x="6382512" y="5806440"/>
            <a:ext cx="905256" cy="2194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7 vehicl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Image 8" descr="preencoded.png">
            <a:extLst>
              <a:ext uri="{FF2B5EF4-FFF2-40B4-BE49-F238E27FC236}">
                <a16:creationId xmlns:a16="http://schemas.microsoft.com/office/drawing/2014/main" id="{76EB7F2B-F6AC-3BEE-ED24-87846887705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83296" y="5285232"/>
            <a:ext cx="914400" cy="914400"/>
          </a:xfrm>
          <a:prstGeom prst="rect">
            <a:avLst/>
          </a:prstGeom>
        </p:spPr>
      </p:pic>
      <p:sp>
        <p:nvSpPr>
          <p:cNvPr id="35" name="Text 18">
            <a:extLst>
              <a:ext uri="{FF2B5EF4-FFF2-40B4-BE49-F238E27FC236}">
                <a16:creationId xmlns:a16="http://schemas.microsoft.com/office/drawing/2014/main" id="{993A9AB2-236F-ECF1-2205-DFDB0399F0DD}"/>
              </a:ext>
            </a:extLst>
          </p:cNvPr>
          <p:cNvSpPr/>
          <p:nvPr/>
        </p:nvSpPr>
        <p:spPr>
          <a:xfrm>
            <a:off x="8083296" y="5486400"/>
            <a:ext cx="905256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4BA47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14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 19">
            <a:extLst>
              <a:ext uri="{FF2B5EF4-FFF2-40B4-BE49-F238E27FC236}">
                <a16:creationId xmlns:a16="http://schemas.microsoft.com/office/drawing/2014/main" id="{CD02FB8A-8C01-FCB4-61D4-F87598A8E953}"/>
              </a:ext>
            </a:extLst>
          </p:cNvPr>
          <p:cNvSpPr/>
          <p:nvPr/>
        </p:nvSpPr>
        <p:spPr>
          <a:xfrm>
            <a:off x="8083296" y="5806440"/>
            <a:ext cx="905256" cy="2194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7 vehicl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7" name="Image 9" descr="preencoded.png">
            <a:extLst>
              <a:ext uri="{FF2B5EF4-FFF2-40B4-BE49-F238E27FC236}">
                <a16:creationId xmlns:a16="http://schemas.microsoft.com/office/drawing/2014/main" id="{7CF6B0EE-5F35-FCC6-E60E-10ADFB9229B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93224" y="5285232"/>
            <a:ext cx="914400" cy="914400"/>
          </a:xfrm>
          <a:prstGeom prst="rect">
            <a:avLst/>
          </a:prstGeom>
        </p:spPr>
      </p:pic>
      <p:sp>
        <p:nvSpPr>
          <p:cNvPr id="38" name="Text 20">
            <a:extLst>
              <a:ext uri="{FF2B5EF4-FFF2-40B4-BE49-F238E27FC236}">
                <a16:creationId xmlns:a16="http://schemas.microsoft.com/office/drawing/2014/main" id="{31A9C9A5-48F6-A53A-2384-66A283EA330D}"/>
              </a:ext>
            </a:extLst>
          </p:cNvPr>
          <p:cNvSpPr/>
          <p:nvPr/>
        </p:nvSpPr>
        <p:spPr>
          <a:xfrm>
            <a:off x="9793224" y="5486400"/>
            <a:ext cx="905256" cy="45720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DA5855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6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 21">
            <a:extLst>
              <a:ext uri="{FF2B5EF4-FFF2-40B4-BE49-F238E27FC236}">
                <a16:creationId xmlns:a16="http://schemas.microsoft.com/office/drawing/2014/main" id="{664F377F-0DA8-AF8B-69A8-B1622D1995A2}"/>
              </a:ext>
            </a:extLst>
          </p:cNvPr>
          <p:cNvSpPr/>
          <p:nvPr/>
        </p:nvSpPr>
        <p:spPr>
          <a:xfrm>
            <a:off x="9793224" y="5806440"/>
            <a:ext cx="905256" cy="21945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3 vehicle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 22">
            <a:extLst>
              <a:ext uri="{FF2B5EF4-FFF2-40B4-BE49-F238E27FC236}">
                <a16:creationId xmlns:a16="http://schemas.microsoft.com/office/drawing/2014/main" id="{72A3BE6D-0FAC-4D40-24A0-C22020F11683}"/>
              </a:ext>
            </a:extLst>
          </p:cNvPr>
          <p:cNvSpPr/>
          <p:nvPr/>
        </p:nvSpPr>
        <p:spPr>
          <a:xfrm>
            <a:off x="1975104" y="3858768"/>
            <a:ext cx="877824" cy="52120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itchFamily="34" charset="0"/>
                <a:ea typeface="Arial Black" pitchFamily="34" charset="-122"/>
                <a:cs typeface="Arial Black" pitchFamily="34" charset="-120"/>
              </a:rPr>
              <a:t>4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 23">
            <a:extLst>
              <a:ext uri="{FF2B5EF4-FFF2-40B4-BE49-F238E27FC236}">
                <a16:creationId xmlns:a16="http://schemas.microsoft.com/office/drawing/2014/main" id="{35B6CCEA-1834-EEE2-DA50-E26E28B2795D}"/>
              </a:ext>
            </a:extLst>
          </p:cNvPr>
          <p:cNvSpPr/>
          <p:nvPr/>
        </p:nvSpPr>
        <p:spPr>
          <a:xfrm>
            <a:off x="923544" y="1664208"/>
            <a:ext cx="2743200" cy="365760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Manufacturer breakdown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 24">
            <a:extLst>
              <a:ext uri="{FF2B5EF4-FFF2-40B4-BE49-F238E27FC236}">
                <a16:creationId xmlns:a16="http://schemas.microsoft.com/office/drawing/2014/main" id="{BFE2EDE9-BE2E-7ED0-B83C-DB887C45E1EB}"/>
              </a:ext>
            </a:extLst>
          </p:cNvPr>
          <p:cNvSpPr/>
          <p:nvPr/>
        </p:nvSpPr>
        <p:spPr>
          <a:xfrm>
            <a:off x="4700016" y="1645920"/>
            <a:ext cx="1828800" cy="310896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Model year analysi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3" name="Image 11" descr="data:image/png;base64,iVBORw0KGgoAAAANSUhEUgAAACIAAAAjCAYAAADxG9hnAAAACXBIWXMAAAsSAAALEgHS3X78AAADeklEQVRYhe1YTUwTQRT+tmIaWkPqDxqN2nLYg2ACB8K1cERJJFmj2Ys23kxMxGjiDREvXkw4kHAT4bLRuBES1JtSjoQDGsHDHigJB7UGsbEljcqaN50p0w1tZ6H05Jds9mdmd759782b743mui78wjGNbgAdACKeVzcALOqWPev3m8pEHNPoB5CApvXAdZsUXpkGMKVb9rOaEOF/Tx+LimcNx5oRjLUgGI2V9M2vppBPreDP97T8eBXAgG7ZU7si4phGhBO4RPeBUAhN8R52BKMtFcn/Tn9DJvkeG29nsJXLicdJAP26ZW8oE3FMo4OTaKf7SO9FHL18FYFQuCIBL7ZyWfx4M4N1+wUfTcvAdeO6ZS9WJcJIaFqS4oCscHpwuKoFqiG/uoKvY6PMdeXIlBBh7tC0j3DdM+R/IuHXCpWsszY8KJNp1y07JdoDnv5TRIKCsZYk2EChMLduDHzWlQRvkYhjGgkAcbo+de9+TUnIZE7evc8Cn+LPMY0h0cZcI7vkiHGFBaYK0pNPkU8VrBuMxdB87YbSezSb0pPjwkVRmknCIv3CJaokCERi8/MSOwQhFUR6+1gu4i4agOQadnP4Qp/yx/YK6YcTjIhjGjGRLyhZ1Qs0Fo+VKKUMsgilcDSea9uXAK2ExtbzorWbiLAFo7G1ra4kCKHtMbuLFqFFrN6QMnakmEcO1NktXngz638iDQAoE8VphfQbsLR27AV/c9ni2wFOhCmremNz+ZMYcpEsQkL3QW55yTcPsuJWtqDAAuGQb92yuT3mbIApbk3LkM6UGpSQnhjH2qNBdtC1H5CcZNpEEGEn131Fp0zyXd28s/7yubiclldfpgsyc7PM3PsNJq7niqXPCGSp6JgGieXrpKDOPn6iRGW3MUKSkaQDKXvdsllml/PIEMUK+Y0EjwpoYJrydKiSIFHESUBIgBIiTMi67u1C59esLqk16JtMmRVwRxbPO5UT5DNGyI9sVLGERGJCt+yE3F6uwGLxAq5TTty8hYPNx3dFgMqIL2OjyC7MlyVRlgi2VT37BVJSpDNJSqqqe1HlecrOh7plD+3Uv2IRzkvPEVFmEMKdXTjU2cVUuzdAaRaRiP61MC9bgPCBAnOnUlOJiEQowSM8XrVzKYjAiMrWhK+NGi60aZ9EbNQUtyo4ftICxtcv2hspa4E9Edk3APgHu4+ZgmdyhmgAAAAASUVORK5CYII=">
            <a:extLst>
              <a:ext uri="{FF2B5EF4-FFF2-40B4-BE49-F238E27FC236}">
                <a16:creationId xmlns:a16="http://schemas.microsoft.com/office/drawing/2014/main" id="{29530517-1CF7-CF04-DF0E-A1497090D1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43616" y="6245352"/>
            <a:ext cx="210312" cy="210312"/>
          </a:xfrm>
          <a:prstGeom prst="rect">
            <a:avLst/>
          </a:prstGeom>
        </p:spPr>
      </p:pic>
      <p:pic>
        <p:nvPicPr>
          <p:cNvPr id="44" name="Image 12" descr="data:image/png;base64,iVBORw0KGgoAAAANSUhEUgAAACIAAAAjCAYAAADxG9hnAAAACXBIWXMAAAsSAAALEgHS3X78AAADeklEQVRYhe1YTUwTQRT+tmIaWkPqDxqN2nLYg2ACB8K1cERJJFmj2Ys23kxMxGjiDREvXkw4kHAT4bLRuBES1JtSjoQDGsHDHigJB7UGsbEljcqaN50p0w1tZ6H05Jds9mdmd759782b743mui78wjGNbgAdACKeVzcALOqWPev3m8pEHNPoB5CApvXAdZsUXpkGMKVb9rOaEOF/Tx+LimcNx5oRjLUgGI2V9M2vppBPreDP97T8eBXAgG7ZU7si4phGhBO4RPeBUAhN8R52BKMtFcn/Tn9DJvkeG29nsJXLicdJAP26ZW8oE3FMo4OTaKf7SO9FHL18FYFQuCIBL7ZyWfx4M4N1+wUfTcvAdeO6ZS9WJcJIaFqS4oCscHpwuKoFqiG/uoKvY6PMdeXIlBBh7tC0j3DdM+R/IuHXCpWsszY8KJNp1y07JdoDnv5TRIKCsZYk2EChMLduDHzWlQRvkYhjGgkAcbo+de9+TUnIZE7evc8Cn+LPMY0h0cZcI7vkiHGFBaYK0pNPkU8VrBuMxdB87YbSezSb0pPjwkVRmknCIv3CJaokCERi8/MSOwQhFUR6+1gu4i4agOQadnP4Qp/yx/YK6YcTjIhjGjGRLyhZ1Qs0Fo+VKKUMsgilcDSea9uXAK2ExtbzorWbiLAFo7G1ra4kCKHtMbuLFqFFrN6QMnakmEcO1NktXngz638iDQAoE8VphfQbsLR27AV/c9ni2wFOhCmremNz+ZMYcpEsQkL3QW55yTcPsuJWtqDAAuGQb92yuT3mbIApbk3LkM6UGpSQnhjH2qNBdtC1H5CcZNpEEGEn131Fp0zyXd28s/7yubiclldfpgsyc7PM3PsNJq7niqXPCGSp6JgGieXrpKDOPn6iRGW3MUKSkaQDKXvdsllml/PIEMUK+Y0EjwpoYJrydKiSIFHESUBIgBIiTMi67u1C59esLqk16JtMmRVwRxbPO5UT5DNGyI9sVLGERGJCt+yE3F6uwGLxAq5TTty8hYPNx3dFgMqIL2OjyC7MlyVRlgi2VT37BVJSpDNJSqqqe1HlecrOh7plD+3Uv2IRzkvPEVFmEMKdXTjU2cVUuzdAaRaRiP61MC9bgPCBAnOnUlOJiEQowSM8XrVzKYjAiMrWhK+NGi60aZ9EbNQUtyo4ftICxtcv2hspa4E9Edk3APgHu4+ZgmdyhmgAAAAASUVORK5CYII=">
            <a:extLst>
              <a:ext uri="{FF2B5EF4-FFF2-40B4-BE49-F238E27FC236}">
                <a16:creationId xmlns:a16="http://schemas.microsoft.com/office/drawing/2014/main" id="{A1DDFD0B-2EF6-D798-1414-6E51BC272EC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43616" y="6245352"/>
            <a:ext cx="210312" cy="210312"/>
          </a:xfrm>
          <a:prstGeom prst="rect">
            <a:avLst/>
          </a:prstGeom>
        </p:spPr>
      </p:pic>
      <p:pic>
        <p:nvPicPr>
          <p:cNvPr id="45" name="Image 13" descr="data:image/png;base64,iVBORw0KGgoAAAANSUhEUgAAAJ8AAAF/CAYAAABXKBvWAAAACXBIWXMAAAsSAAALEgHS3X78AAAKxElEQVR4nO3cT2ib9x3H8a9KRpZ0aUxossEOdpm6sXZgH8aGLpJ7XCk0oLGhy+zstEJgOuzQU2N66g7bvD+Qww5zLjMbNbWhW4+1dBFsY0tgbRkIajPGWNMVJ6HJvJaqfB9/H+WxLduSLOXjWO8XGFuOZNeP3/09z+/3PI9zrVbLgL00K+UJM5uON/94zMwmzeyWmV2Pl636W35xabWXDUl86KhZKXtsc2ZW6noL5XK3rdX6jZnN5xeX1g58OvEhq1kpT3k82ehOjk/Yo1//hp166mvJ41NPPW0f3XzPPr55M3l/7+2/272337KP37+59YJc7o61Wj/NLy7N7bdxiQ9tzUq5amY/88ePnD5tY996zs6UnrHPnL/Q1Ub68C9/so0/vm733nkr/dQNM5vNLy5d7/R84kOiWSkvmNmMf+yj3OPfu9R1dDt5hP+5+kv75O7ddFdc6hQg8WFbeB6dj3iH9cndD+1fL79km+trewZIfCOuWSn7cdkV3woXfnDZHis9M7AN0iHAyexE5JFR3/ijLGa0QwnPkuPGR+2LL72cTFis1XrMzBa2/fuo/wJGnM9qk2O8QYeX8gAvvHA5mcD4DLpZKc+m/3ZiEN+gUa9lFyEnBvE1MVynbvztC58z+4pH8fkXLnf9vZqVcvvjc+Xv2Llvf/fA15wcfyI5jvxg6fcWa4fJCNh3fI167aJPoyO6s/1+HWh89h/vJN/Xo/DRadg80tu1N30tcNxHv/zi0kLP8TXqtdmodzzz6fU4xbIW73GEnf7rn/Mn/vv+r5P4nj38zLZbvmuP0c8Hru7ja9RrUzFcTsanbsXjhUKx1HEREUdT8+ovfG9lZ4rTD2TUS525H9/z1u1ut1GvtafjEZ0fqM4XiqWNIf/3YjiS+NLTZQ+KL1qfePx8chrOZ9r7xteo18YitJn41Iof5xHdQy+ZFJ6cePBzQz8vfKeeHJlN7RlfhLea2c1eKhRLC3s9Hw+V5HjdZ6EPWuaU3dh+I99C5rqtaY7rMGgdF5kb9dp8HBQSHoZm18gX63c/jIdVwkOWLyynDjth2RZfZoLhfs4x3rHl67LjfgGoTwB60c0Zjf0kFxls2di5263Gweh6LCTjeEr2Zpvr7z7wH25zrf09r7dHvhj1qvFwjuWUY81XMZ73ka/Xa/c+ePV37Y99t9vLyOmxJ5fa53K38799dTW7252Nc7Tr7G6PvWW/XN6vOPZ7MHq5YjnOUCTOxbpdt+7U3tx6Zqv1mu2Y7bZHvVH/zRx3cUFnzbJBDJlfWHr7/vdKBrckvjhvm14osDzqv5wRkQwyPpL56DdsvrtO7ukwW0/v7013u9PxfoVjvdHgATQrZR/9Su9d/VVyxXE38otLPW8fP7bceOMP6cP2xaTpbjeNj8uhRsusH/z7rY5+t9kw+O723z95Jf3KK9m/apDGl55hZkF5hCTHfq1WckLBT/ZvvPH6QH/49Aai2N3eyI56lt691qjXklvYCsVSbtR/IaMo7qvwP3ORXON3fub7h77Oz5dV2uF1uHPNuIEItjUC+uzzksUI6NH4cVo/fLTzycU/X/zR/RFv657dXX+7hZEPbc1K+aLlctfiNkc79dWnk8vs/e62g/iM2ZdtfNcd0Vl6/Wd+canjJJb4sE2zUt55AXFy26OfzfD7b09OPNHeJXtw/19/NxklM+dsLU7PVvOLS/su2xEfOoq/y1fNnPnqhi/dLMRu/EDEhwPFn01L78ueyjx/Y/NLT45tPvnl0kfnL/z4m88+92IvW3MgN43jeIs/8NNxGS5uLvO/5fe/XjcCs13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kCE+yBAfZIgPMsQHGeKDDPFBhvggQ3yQIT7IEB9kiA8yxAcZ4oMM8UGG+CBDfJAhPsgQH2SIDzLEBxnigwzxQYb4IEN8OKypeP1ar19nW3yNem2CXwV6NBZP7zu+WrwnPvTq0CNf+sJpNj261ajXPLyzZnarUCz1Hd9qvL/IlkcP0sFqtZ+Nlsa3HO8nOe5DD2bjqf3HVyiWNsxsJT43u/9LgPbkdDI2xULf8YV09Ks26rWxPV8BbJmL99di8Oo/vkKx5PWuxwFklQ2MvcREYyb+ua9RzzosMqfRXYlvAHQyH59bKRRLfR3v7YqvUCwtZ9b8+i4ax1ejXvPdbcmXVw67h+x0em02vrDPfAkQbY16zZfirsTjaj9re1m74osvmM54ZwgQdv84L23hWswRDqXjhQWx+70UDwlwxMWItxqT0RuFYmkgy3F7XtUSZWcDXGUJZvTEMd5raXiDPAWba7Va+z6hUa/NxuzmbHqQOYghF0db7GbnY3Jhsasd6AmIA+Oz7fv7dEXbZ8TzsXvGMRJnLuYy63g+4MwViqX5Qf+UXcWXiiG4GqOgxaK0B7hQKJauE+HDKYKbjolmKfNDrAxiVruXnuKzrf/QsQgwG2HKR0Q/1UKIR99EvE11+D2uxJ6t7wXkbvQcX1bMgi7G/zXjD9GGx2612IstD2uk2+lQ8WXF0J19w9HnI9uG5JDJzD4Fhbu1x8XrNcYAAAAASUVORK5CYII=">
            <a:extLst>
              <a:ext uri="{FF2B5EF4-FFF2-40B4-BE49-F238E27FC236}">
                <a16:creationId xmlns:a16="http://schemas.microsoft.com/office/drawing/2014/main" id="{E3B16ABE-2B8B-4C0B-27CF-B9DEF966AA8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796528" y="1993392"/>
            <a:ext cx="996696" cy="2441448"/>
          </a:xfrm>
          <a:prstGeom prst="rect">
            <a:avLst/>
          </a:prstGeom>
        </p:spPr>
      </p:pic>
      <p:pic>
        <p:nvPicPr>
          <p:cNvPr id="46" name="Image 14" descr="preencoded.png">
            <a:extLst>
              <a:ext uri="{FF2B5EF4-FFF2-40B4-BE49-F238E27FC236}">
                <a16:creationId xmlns:a16="http://schemas.microsoft.com/office/drawing/2014/main" id="{B8F4D65F-A36F-2AB6-2E7F-79C9C577050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00600" y="2221992"/>
            <a:ext cx="4992624" cy="2057400"/>
          </a:xfrm>
          <a:prstGeom prst="rect">
            <a:avLst/>
          </a:prstGeom>
        </p:spPr>
      </p:pic>
      <p:sp>
        <p:nvSpPr>
          <p:cNvPr id="47" name="Text 25">
            <a:extLst>
              <a:ext uri="{FF2B5EF4-FFF2-40B4-BE49-F238E27FC236}">
                <a16:creationId xmlns:a16="http://schemas.microsoft.com/office/drawing/2014/main" id="{4523F2CC-E53A-73EB-E4B4-99D2E38E70CA}"/>
              </a:ext>
            </a:extLst>
          </p:cNvPr>
          <p:cNvSpPr/>
          <p:nvPr/>
        </p:nvSpPr>
        <p:spPr>
          <a:xfrm>
            <a:off x="7479792" y="2340864"/>
            <a:ext cx="1088136" cy="713232"/>
          </a:xfrm>
          <a:prstGeom prst="wedgeRoundRectCallout">
            <a:avLst/>
          </a:prstGeom>
          <a:solidFill>
            <a:srgbClr val="FFFFFF"/>
          </a:solidFill>
          <a:ln>
            <a:solidFill>
              <a:srgbClr val="E7E6E6"/>
            </a:solidFill>
          </a:ln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vg age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12.4 year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 26">
            <a:extLst>
              <a:ext uri="{FF2B5EF4-FFF2-40B4-BE49-F238E27FC236}">
                <a16:creationId xmlns:a16="http://schemas.microsoft.com/office/drawing/2014/main" id="{6E700A30-F35C-9BF2-C637-EFF2BA01E62B}"/>
              </a:ext>
            </a:extLst>
          </p:cNvPr>
          <p:cNvSpPr/>
          <p:nvPr/>
        </p:nvSpPr>
        <p:spPr>
          <a:xfrm>
            <a:off x="8604504" y="1554480"/>
            <a:ext cx="1207008" cy="475488"/>
          </a:xfrm>
          <a:prstGeom prst="rect">
            <a:avLst/>
          </a:prstGeom>
          <a:noFill/>
          <a:ln/>
        </p:spPr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10 years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 pitchFamily="34" charset="-122"/>
                <a:cs typeface="Arial" pitchFamily="34" charset="-120"/>
              </a:rPr>
              <a:t>and older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Image 10" descr="preencoded.png">
            <a:extLst>
              <a:ext uri="{FF2B5EF4-FFF2-40B4-BE49-F238E27FC236}">
                <a16:creationId xmlns:a16="http://schemas.microsoft.com/office/drawing/2014/main" id="{2FF1A545-4528-13AE-712F-6CA3D2A8158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55448" y="1655064"/>
            <a:ext cx="4480560" cy="493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65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A5D4598-6A53-4B79-B361-822EA2CFFB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"/>
                    </a14:imgEffect>
                  </a14:imgLayer>
                </a14:imgProps>
              </a:ext>
            </a:extLst>
          </a:blip>
          <a:srcRect l="1378" r="465"/>
          <a:stretch/>
        </p:blipFill>
        <p:spPr>
          <a:xfrm>
            <a:off x="3176" y="1223218"/>
            <a:ext cx="12185651" cy="434782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</a:gradFill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895" y="122770"/>
            <a:ext cx="1811225" cy="603742"/>
          </a:xfrm>
          <a:prstGeom prst="rect">
            <a:avLst/>
          </a:prstGeom>
        </p:spPr>
      </p:pic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5D3CB5F-D500-4F02-8B63-2883A299D3EE}"/>
              </a:ext>
            </a:extLst>
          </p:cNvPr>
          <p:cNvSpPr/>
          <p:nvPr/>
        </p:nvSpPr>
        <p:spPr>
          <a:xfrm rot="1380000">
            <a:off x="6609159" y="998635"/>
            <a:ext cx="5092340" cy="488597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5C60FC4B-FD06-43DC-AFF1-65AC5095364F}"/>
              </a:ext>
            </a:extLst>
          </p:cNvPr>
          <p:cNvSpPr/>
          <p:nvPr/>
        </p:nvSpPr>
        <p:spPr>
          <a:xfrm rot="2700000">
            <a:off x="6543721" y="1037390"/>
            <a:ext cx="5109624" cy="4885977"/>
          </a:xfrm>
          <a:prstGeom prst="roundRect">
            <a:avLst/>
          </a:prstGeom>
          <a:solidFill>
            <a:srgbClr val="00A6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0B2B4BE8-815C-47F4-9462-09FE2ABA066A}"/>
              </a:ext>
            </a:extLst>
          </p:cNvPr>
          <p:cNvSpPr/>
          <p:nvPr/>
        </p:nvSpPr>
        <p:spPr>
          <a:xfrm rot="20458057">
            <a:off x="6696041" y="1189710"/>
            <a:ext cx="5109624" cy="4885977"/>
          </a:xfrm>
          <a:prstGeom prst="round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8D283-C420-427B-AA1C-31D72D2F90DE}"/>
              </a:ext>
            </a:extLst>
          </p:cNvPr>
          <p:cNvSpPr txBox="1"/>
          <p:nvPr/>
        </p:nvSpPr>
        <p:spPr>
          <a:xfrm>
            <a:off x="6756602" y="1827470"/>
            <a:ext cx="4988501" cy="31393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Poppins" pitchFamily="2" charset="77"/>
              </a:rPr>
              <a:t>FUNDING</a:t>
            </a:r>
          </a:p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b="1" spc="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Poppins" pitchFamily="2" charset="77"/>
              </a:rPr>
              <a:t>OPTIONS </a:t>
            </a:r>
          </a:p>
          <a:p>
            <a:pPr marL="0" marR="0" lvl="0" indent="0" algn="ctr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30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Poppins" pitchFamily="2" charset="77"/>
              </a:rPr>
              <a:t>EXPLAINED</a:t>
            </a:r>
          </a:p>
        </p:txBody>
      </p:sp>
      <p:sp>
        <p:nvSpPr>
          <p:cNvPr id="56" name="Freeform 3">
            <a:extLst>
              <a:ext uri="{FF2B5EF4-FFF2-40B4-BE49-F238E27FC236}">
                <a16:creationId xmlns:a16="http://schemas.microsoft.com/office/drawing/2014/main" id="{55E9462C-9030-451C-98D5-11E64E8F1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199" y="5900127"/>
            <a:ext cx="448463" cy="650398"/>
          </a:xfrm>
          <a:custGeom>
            <a:avLst/>
            <a:gdLst>
              <a:gd name="connsiteX0" fmla="*/ 7029 w 377653"/>
              <a:gd name="connsiteY0" fmla="*/ 524585 h 547704"/>
              <a:gd name="connsiteX1" fmla="*/ 14058 w 377653"/>
              <a:gd name="connsiteY1" fmla="*/ 531361 h 547704"/>
              <a:gd name="connsiteX2" fmla="*/ 14058 w 377653"/>
              <a:gd name="connsiteY2" fmla="*/ 540928 h 547704"/>
              <a:gd name="connsiteX3" fmla="*/ 7029 w 377653"/>
              <a:gd name="connsiteY3" fmla="*/ 547704 h 547704"/>
              <a:gd name="connsiteX4" fmla="*/ 0 w 377653"/>
              <a:gd name="connsiteY4" fmla="*/ 540928 h 547704"/>
              <a:gd name="connsiteX5" fmla="*/ 0 w 377653"/>
              <a:gd name="connsiteY5" fmla="*/ 531361 h 547704"/>
              <a:gd name="connsiteX6" fmla="*/ 7029 w 377653"/>
              <a:gd name="connsiteY6" fmla="*/ 524585 h 547704"/>
              <a:gd name="connsiteX7" fmla="*/ 45138 w 377653"/>
              <a:gd name="connsiteY7" fmla="*/ 513120 h 547704"/>
              <a:gd name="connsiteX8" fmla="*/ 45138 w 377653"/>
              <a:gd name="connsiteY8" fmla="*/ 524588 h 547704"/>
              <a:gd name="connsiteX9" fmla="*/ 51714 w 377653"/>
              <a:gd name="connsiteY9" fmla="*/ 531550 h 547704"/>
              <a:gd name="connsiteX10" fmla="*/ 356691 w 377653"/>
              <a:gd name="connsiteY10" fmla="*/ 531550 h 547704"/>
              <a:gd name="connsiteX11" fmla="*/ 363267 w 377653"/>
              <a:gd name="connsiteY11" fmla="*/ 524588 h 547704"/>
              <a:gd name="connsiteX12" fmla="*/ 363267 w 377653"/>
              <a:gd name="connsiteY12" fmla="*/ 513120 h 547704"/>
              <a:gd name="connsiteX13" fmla="*/ 356691 w 377653"/>
              <a:gd name="connsiteY13" fmla="*/ 514349 h 547704"/>
              <a:gd name="connsiteX14" fmla="*/ 51714 w 377653"/>
              <a:gd name="connsiteY14" fmla="*/ 514349 h 547704"/>
              <a:gd name="connsiteX15" fmla="*/ 45138 w 377653"/>
              <a:gd name="connsiteY15" fmla="*/ 513120 h 547704"/>
              <a:gd name="connsiteX16" fmla="*/ 7029 w 377653"/>
              <a:gd name="connsiteY16" fmla="*/ 454039 h 547704"/>
              <a:gd name="connsiteX17" fmla="*/ 14058 w 377653"/>
              <a:gd name="connsiteY17" fmla="*/ 460963 h 547704"/>
              <a:gd name="connsiteX18" fmla="*/ 14058 w 377653"/>
              <a:gd name="connsiteY18" fmla="*/ 508210 h 547704"/>
              <a:gd name="connsiteX19" fmla="*/ 7029 w 377653"/>
              <a:gd name="connsiteY19" fmla="*/ 515134 h 547704"/>
              <a:gd name="connsiteX20" fmla="*/ 0 w 377653"/>
              <a:gd name="connsiteY20" fmla="*/ 508210 h 547704"/>
              <a:gd name="connsiteX21" fmla="*/ 0 w 377653"/>
              <a:gd name="connsiteY21" fmla="*/ 460963 h 547704"/>
              <a:gd name="connsiteX22" fmla="*/ 7029 w 377653"/>
              <a:gd name="connsiteY22" fmla="*/ 454039 h 547704"/>
              <a:gd name="connsiteX23" fmla="*/ 256626 w 377653"/>
              <a:gd name="connsiteY23" fmla="*/ 437758 h 547704"/>
              <a:gd name="connsiteX24" fmla="*/ 337685 w 377653"/>
              <a:gd name="connsiteY24" fmla="*/ 437758 h 547704"/>
              <a:gd name="connsiteX25" fmla="*/ 345092 w 377653"/>
              <a:gd name="connsiteY25" fmla="*/ 444591 h 547704"/>
              <a:gd name="connsiteX26" fmla="*/ 337685 w 377653"/>
              <a:gd name="connsiteY26" fmla="*/ 451827 h 547704"/>
              <a:gd name="connsiteX27" fmla="*/ 256626 w 377653"/>
              <a:gd name="connsiteY27" fmla="*/ 451827 h 547704"/>
              <a:gd name="connsiteX28" fmla="*/ 249631 w 377653"/>
              <a:gd name="connsiteY28" fmla="*/ 444591 h 547704"/>
              <a:gd name="connsiteX29" fmla="*/ 256626 w 377653"/>
              <a:gd name="connsiteY29" fmla="*/ 437758 h 547704"/>
              <a:gd name="connsiteX30" fmla="*/ 256626 w 377653"/>
              <a:gd name="connsiteY30" fmla="*/ 390726 h 547704"/>
              <a:gd name="connsiteX31" fmla="*/ 337685 w 377653"/>
              <a:gd name="connsiteY31" fmla="*/ 390726 h 547704"/>
              <a:gd name="connsiteX32" fmla="*/ 345092 w 377653"/>
              <a:gd name="connsiteY32" fmla="*/ 397961 h 547704"/>
              <a:gd name="connsiteX33" fmla="*/ 337685 w 377653"/>
              <a:gd name="connsiteY33" fmla="*/ 404795 h 547704"/>
              <a:gd name="connsiteX34" fmla="*/ 256626 w 377653"/>
              <a:gd name="connsiteY34" fmla="*/ 404795 h 547704"/>
              <a:gd name="connsiteX35" fmla="*/ 249631 w 377653"/>
              <a:gd name="connsiteY35" fmla="*/ 397961 h 547704"/>
              <a:gd name="connsiteX36" fmla="*/ 256626 w 377653"/>
              <a:gd name="connsiteY36" fmla="*/ 390726 h 547704"/>
              <a:gd name="connsiteX37" fmla="*/ 189570 w 377653"/>
              <a:gd name="connsiteY37" fmla="*/ 390183 h 547704"/>
              <a:gd name="connsiteX38" fmla="*/ 189570 w 377653"/>
              <a:gd name="connsiteY38" fmla="*/ 439620 h 547704"/>
              <a:gd name="connsiteX39" fmla="*/ 203462 w 377653"/>
              <a:gd name="connsiteY39" fmla="*/ 439208 h 547704"/>
              <a:gd name="connsiteX40" fmla="*/ 203462 w 377653"/>
              <a:gd name="connsiteY40" fmla="*/ 390183 h 547704"/>
              <a:gd name="connsiteX41" fmla="*/ 95591 w 377653"/>
              <a:gd name="connsiteY41" fmla="*/ 358460 h 547704"/>
              <a:gd name="connsiteX42" fmla="*/ 95591 w 377653"/>
              <a:gd name="connsiteY42" fmla="*/ 439620 h 547704"/>
              <a:gd name="connsiteX43" fmla="*/ 109892 w 377653"/>
              <a:gd name="connsiteY43" fmla="*/ 439620 h 547704"/>
              <a:gd name="connsiteX44" fmla="*/ 109892 w 377653"/>
              <a:gd name="connsiteY44" fmla="*/ 358460 h 547704"/>
              <a:gd name="connsiteX45" fmla="*/ 256575 w 377653"/>
              <a:gd name="connsiteY45" fmla="*/ 343694 h 547704"/>
              <a:gd name="connsiteX46" fmla="*/ 305591 w 377653"/>
              <a:gd name="connsiteY46" fmla="*/ 343694 h 547704"/>
              <a:gd name="connsiteX47" fmla="*/ 312535 w 377653"/>
              <a:gd name="connsiteY47" fmla="*/ 350929 h 547704"/>
              <a:gd name="connsiteX48" fmla="*/ 305591 w 377653"/>
              <a:gd name="connsiteY48" fmla="*/ 357763 h 547704"/>
              <a:gd name="connsiteX49" fmla="*/ 256575 w 377653"/>
              <a:gd name="connsiteY49" fmla="*/ 357763 h 547704"/>
              <a:gd name="connsiteX50" fmla="*/ 249631 w 377653"/>
              <a:gd name="connsiteY50" fmla="*/ 350929 h 547704"/>
              <a:gd name="connsiteX51" fmla="*/ 256575 w 377653"/>
              <a:gd name="connsiteY51" fmla="*/ 343694 h 547704"/>
              <a:gd name="connsiteX52" fmla="*/ 142989 w 377653"/>
              <a:gd name="connsiteY52" fmla="*/ 326737 h 547704"/>
              <a:gd name="connsiteX53" fmla="*/ 142989 w 377653"/>
              <a:gd name="connsiteY53" fmla="*/ 439620 h 547704"/>
              <a:gd name="connsiteX54" fmla="*/ 156473 w 377653"/>
              <a:gd name="connsiteY54" fmla="*/ 439620 h 547704"/>
              <a:gd name="connsiteX55" fmla="*/ 156473 w 377653"/>
              <a:gd name="connsiteY55" fmla="*/ 327149 h 547704"/>
              <a:gd name="connsiteX56" fmla="*/ 70257 w 377653"/>
              <a:gd name="connsiteY56" fmla="*/ 296663 h 547704"/>
              <a:gd name="connsiteX57" fmla="*/ 77204 w 377653"/>
              <a:gd name="connsiteY57" fmla="*/ 303666 h 547704"/>
              <a:gd name="connsiteX58" fmla="*/ 77204 w 377653"/>
              <a:gd name="connsiteY58" fmla="*/ 439620 h 547704"/>
              <a:gd name="connsiteX59" fmla="*/ 81698 w 377653"/>
              <a:gd name="connsiteY59" fmla="*/ 439620 h 547704"/>
              <a:gd name="connsiteX60" fmla="*/ 81698 w 377653"/>
              <a:gd name="connsiteY60" fmla="*/ 355988 h 547704"/>
              <a:gd name="connsiteX61" fmla="*/ 93548 w 377653"/>
              <a:gd name="connsiteY61" fmla="*/ 344041 h 547704"/>
              <a:gd name="connsiteX62" fmla="*/ 112344 w 377653"/>
              <a:gd name="connsiteY62" fmla="*/ 344041 h 547704"/>
              <a:gd name="connsiteX63" fmla="*/ 123785 w 377653"/>
              <a:gd name="connsiteY63" fmla="*/ 355988 h 547704"/>
              <a:gd name="connsiteX64" fmla="*/ 123785 w 377653"/>
              <a:gd name="connsiteY64" fmla="*/ 439620 h 547704"/>
              <a:gd name="connsiteX65" fmla="*/ 128279 w 377653"/>
              <a:gd name="connsiteY65" fmla="*/ 439620 h 547704"/>
              <a:gd name="connsiteX66" fmla="*/ 128279 w 377653"/>
              <a:gd name="connsiteY66" fmla="*/ 324266 h 547704"/>
              <a:gd name="connsiteX67" fmla="*/ 131957 w 377653"/>
              <a:gd name="connsiteY67" fmla="*/ 316026 h 547704"/>
              <a:gd name="connsiteX68" fmla="*/ 140129 w 377653"/>
              <a:gd name="connsiteY68" fmla="*/ 312730 h 547704"/>
              <a:gd name="connsiteX69" fmla="*/ 159333 w 377653"/>
              <a:gd name="connsiteY69" fmla="*/ 312730 h 547704"/>
              <a:gd name="connsiteX70" fmla="*/ 170774 w 377653"/>
              <a:gd name="connsiteY70" fmla="*/ 324266 h 547704"/>
              <a:gd name="connsiteX71" fmla="*/ 170774 w 377653"/>
              <a:gd name="connsiteY71" fmla="*/ 439620 h 547704"/>
              <a:gd name="connsiteX72" fmla="*/ 175269 w 377653"/>
              <a:gd name="connsiteY72" fmla="*/ 439620 h 547704"/>
              <a:gd name="connsiteX73" fmla="*/ 175269 w 377653"/>
              <a:gd name="connsiteY73" fmla="*/ 387711 h 547704"/>
              <a:gd name="connsiteX74" fmla="*/ 187118 w 377653"/>
              <a:gd name="connsiteY74" fmla="*/ 375763 h 547704"/>
              <a:gd name="connsiteX75" fmla="*/ 206323 w 377653"/>
              <a:gd name="connsiteY75" fmla="*/ 375763 h 547704"/>
              <a:gd name="connsiteX76" fmla="*/ 217764 w 377653"/>
              <a:gd name="connsiteY76" fmla="*/ 387711 h 547704"/>
              <a:gd name="connsiteX77" fmla="*/ 217764 w 377653"/>
              <a:gd name="connsiteY77" fmla="*/ 439208 h 547704"/>
              <a:gd name="connsiteX78" fmla="*/ 229205 w 377653"/>
              <a:gd name="connsiteY78" fmla="*/ 439208 h 547704"/>
              <a:gd name="connsiteX79" fmla="*/ 236559 w 377653"/>
              <a:gd name="connsiteY79" fmla="*/ 446624 h 547704"/>
              <a:gd name="connsiteX80" fmla="*/ 229205 w 377653"/>
              <a:gd name="connsiteY80" fmla="*/ 453628 h 547704"/>
              <a:gd name="connsiteX81" fmla="*/ 211635 w 377653"/>
              <a:gd name="connsiteY81" fmla="*/ 453628 h 547704"/>
              <a:gd name="connsiteX82" fmla="*/ 209592 w 377653"/>
              <a:gd name="connsiteY82" fmla="*/ 453628 h 547704"/>
              <a:gd name="connsiteX83" fmla="*/ 183032 w 377653"/>
              <a:gd name="connsiteY83" fmla="*/ 453628 h 547704"/>
              <a:gd name="connsiteX84" fmla="*/ 181806 w 377653"/>
              <a:gd name="connsiteY84" fmla="*/ 453628 h 547704"/>
              <a:gd name="connsiteX85" fmla="*/ 164645 w 377653"/>
              <a:gd name="connsiteY85" fmla="*/ 453628 h 547704"/>
              <a:gd name="connsiteX86" fmla="*/ 163011 w 377653"/>
              <a:gd name="connsiteY86" fmla="*/ 453628 h 547704"/>
              <a:gd name="connsiteX87" fmla="*/ 136451 w 377653"/>
              <a:gd name="connsiteY87" fmla="*/ 453628 h 547704"/>
              <a:gd name="connsiteX88" fmla="*/ 134408 w 377653"/>
              <a:gd name="connsiteY88" fmla="*/ 453628 h 547704"/>
              <a:gd name="connsiteX89" fmla="*/ 117655 w 377653"/>
              <a:gd name="connsiteY89" fmla="*/ 453628 h 547704"/>
              <a:gd name="connsiteX90" fmla="*/ 116430 w 377653"/>
              <a:gd name="connsiteY90" fmla="*/ 453628 h 547704"/>
              <a:gd name="connsiteX91" fmla="*/ 89462 w 377653"/>
              <a:gd name="connsiteY91" fmla="*/ 453628 h 547704"/>
              <a:gd name="connsiteX92" fmla="*/ 87827 w 377653"/>
              <a:gd name="connsiteY92" fmla="*/ 453628 h 547704"/>
              <a:gd name="connsiteX93" fmla="*/ 77204 w 377653"/>
              <a:gd name="connsiteY93" fmla="*/ 453628 h 547704"/>
              <a:gd name="connsiteX94" fmla="*/ 63311 w 377653"/>
              <a:gd name="connsiteY94" fmla="*/ 439620 h 547704"/>
              <a:gd name="connsiteX95" fmla="*/ 63311 w 377653"/>
              <a:gd name="connsiteY95" fmla="*/ 303666 h 547704"/>
              <a:gd name="connsiteX96" fmla="*/ 70257 w 377653"/>
              <a:gd name="connsiteY96" fmla="*/ 296663 h 547704"/>
              <a:gd name="connsiteX97" fmla="*/ 70276 w 377653"/>
              <a:gd name="connsiteY97" fmla="*/ 247822 h 547704"/>
              <a:gd name="connsiteX98" fmla="*/ 164476 w 377653"/>
              <a:gd name="connsiteY98" fmla="*/ 247822 h 547704"/>
              <a:gd name="connsiteX99" fmla="*/ 171439 w 377653"/>
              <a:gd name="connsiteY99" fmla="*/ 255057 h 547704"/>
              <a:gd name="connsiteX100" fmla="*/ 164476 w 377653"/>
              <a:gd name="connsiteY100" fmla="*/ 261891 h 547704"/>
              <a:gd name="connsiteX101" fmla="*/ 70276 w 377653"/>
              <a:gd name="connsiteY101" fmla="*/ 261891 h 547704"/>
              <a:gd name="connsiteX102" fmla="*/ 63313 w 377653"/>
              <a:gd name="connsiteY102" fmla="*/ 255057 h 547704"/>
              <a:gd name="connsiteX103" fmla="*/ 70276 w 377653"/>
              <a:gd name="connsiteY103" fmla="*/ 247822 h 547704"/>
              <a:gd name="connsiteX104" fmla="*/ 70276 w 377653"/>
              <a:gd name="connsiteY104" fmla="*/ 200790 h 547704"/>
              <a:gd name="connsiteX105" fmla="*/ 164476 w 377653"/>
              <a:gd name="connsiteY105" fmla="*/ 200790 h 547704"/>
              <a:gd name="connsiteX106" fmla="*/ 171439 w 377653"/>
              <a:gd name="connsiteY106" fmla="*/ 207830 h 547704"/>
              <a:gd name="connsiteX107" fmla="*/ 164476 w 377653"/>
              <a:gd name="connsiteY107" fmla="*/ 214870 h 547704"/>
              <a:gd name="connsiteX108" fmla="*/ 70276 w 377653"/>
              <a:gd name="connsiteY108" fmla="*/ 214870 h 547704"/>
              <a:gd name="connsiteX109" fmla="*/ 63313 w 377653"/>
              <a:gd name="connsiteY109" fmla="*/ 207830 h 547704"/>
              <a:gd name="connsiteX110" fmla="*/ 70276 w 377653"/>
              <a:gd name="connsiteY110" fmla="*/ 200790 h 547704"/>
              <a:gd name="connsiteX111" fmla="*/ 70222 w 377653"/>
              <a:gd name="connsiteY111" fmla="*/ 153758 h 547704"/>
              <a:gd name="connsiteX112" fmla="*/ 147846 w 377653"/>
              <a:gd name="connsiteY112" fmla="*/ 153758 h 547704"/>
              <a:gd name="connsiteX113" fmla="*/ 155162 w 377653"/>
              <a:gd name="connsiteY113" fmla="*/ 160591 h 547704"/>
              <a:gd name="connsiteX114" fmla="*/ 147846 w 377653"/>
              <a:gd name="connsiteY114" fmla="*/ 167827 h 547704"/>
              <a:gd name="connsiteX115" fmla="*/ 70222 w 377653"/>
              <a:gd name="connsiteY115" fmla="*/ 167827 h 547704"/>
              <a:gd name="connsiteX116" fmla="*/ 63313 w 377653"/>
              <a:gd name="connsiteY116" fmla="*/ 160591 h 547704"/>
              <a:gd name="connsiteX117" fmla="*/ 70222 w 377653"/>
              <a:gd name="connsiteY117" fmla="*/ 153758 h 547704"/>
              <a:gd name="connsiteX118" fmla="*/ 285369 w 377653"/>
              <a:gd name="connsiteY118" fmla="*/ 145024 h 547704"/>
              <a:gd name="connsiteX119" fmla="*/ 285369 w 377653"/>
              <a:gd name="connsiteY119" fmla="*/ 195529 h 547704"/>
              <a:gd name="connsiteX120" fmla="*/ 280869 w 377653"/>
              <a:gd name="connsiteY120" fmla="*/ 206616 h 547704"/>
              <a:gd name="connsiteX121" fmla="*/ 247733 w 377653"/>
              <a:gd name="connsiteY121" fmla="*/ 239465 h 547704"/>
              <a:gd name="connsiteX122" fmla="*/ 278414 w 377653"/>
              <a:gd name="connsiteY122" fmla="*/ 249320 h 547704"/>
              <a:gd name="connsiteX123" fmla="*/ 330368 w 377653"/>
              <a:gd name="connsiteY123" fmla="*/ 196761 h 547704"/>
              <a:gd name="connsiteX124" fmla="*/ 285369 w 377653"/>
              <a:gd name="connsiteY124" fmla="*/ 145024 h 547704"/>
              <a:gd name="connsiteX125" fmla="*/ 247873 w 377653"/>
              <a:gd name="connsiteY125" fmla="*/ 132284 h 547704"/>
              <a:gd name="connsiteX126" fmla="*/ 202137 w 377653"/>
              <a:gd name="connsiteY126" fmla="*/ 184159 h 547704"/>
              <a:gd name="connsiteX127" fmla="*/ 214086 w 377653"/>
              <a:gd name="connsiteY127" fmla="*/ 216428 h 547704"/>
              <a:gd name="connsiteX128" fmla="*/ 247461 w 377653"/>
              <a:gd name="connsiteY128" fmla="*/ 183342 h 547704"/>
              <a:gd name="connsiteX129" fmla="*/ 247873 w 377653"/>
              <a:gd name="connsiteY129" fmla="*/ 182525 h 547704"/>
              <a:gd name="connsiteX130" fmla="*/ 278414 w 377653"/>
              <a:gd name="connsiteY130" fmla="*/ 130242 h 547704"/>
              <a:gd name="connsiteX131" fmla="*/ 345095 w 377653"/>
              <a:gd name="connsiteY131" fmla="*/ 196761 h 547704"/>
              <a:gd name="connsiteX132" fmla="*/ 278414 w 377653"/>
              <a:gd name="connsiteY132" fmla="*/ 263691 h 547704"/>
              <a:gd name="connsiteX133" fmla="*/ 234642 w 377653"/>
              <a:gd name="connsiteY133" fmla="*/ 246856 h 547704"/>
              <a:gd name="connsiteX134" fmla="*/ 233415 w 377653"/>
              <a:gd name="connsiteY134" fmla="*/ 245624 h 547704"/>
              <a:gd name="connsiteX135" fmla="*/ 232597 w 377653"/>
              <a:gd name="connsiteY135" fmla="*/ 245214 h 547704"/>
              <a:gd name="connsiteX136" fmla="*/ 232597 w 377653"/>
              <a:gd name="connsiteY136" fmla="*/ 234948 h 547704"/>
              <a:gd name="connsiteX137" fmla="*/ 271051 w 377653"/>
              <a:gd name="connsiteY137" fmla="*/ 196351 h 547704"/>
              <a:gd name="connsiteX138" fmla="*/ 271051 w 377653"/>
              <a:gd name="connsiteY138" fmla="*/ 195529 h 547704"/>
              <a:gd name="connsiteX139" fmla="*/ 271051 w 377653"/>
              <a:gd name="connsiteY139" fmla="*/ 137222 h 547704"/>
              <a:gd name="connsiteX140" fmla="*/ 278414 w 377653"/>
              <a:gd name="connsiteY140" fmla="*/ 130242 h 547704"/>
              <a:gd name="connsiteX141" fmla="*/ 246637 w 377653"/>
              <a:gd name="connsiteY141" fmla="*/ 117988 h 547704"/>
              <a:gd name="connsiteX142" fmla="*/ 257350 w 377653"/>
              <a:gd name="connsiteY142" fmla="*/ 121256 h 547704"/>
              <a:gd name="connsiteX143" fmla="*/ 261882 w 377653"/>
              <a:gd name="connsiteY143" fmla="*/ 131467 h 547704"/>
              <a:gd name="connsiteX144" fmla="*/ 261882 w 377653"/>
              <a:gd name="connsiteY144" fmla="*/ 182525 h 547704"/>
              <a:gd name="connsiteX145" fmla="*/ 257350 w 377653"/>
              <a:gd name="connsiteY145" fmla="*/ 193145 h 547704"/>
              <a:gd name="connsiteX146" fmla="*/ 223975 w 377653"/>
              <a:gd name="connsiteY146" fmla="*/ 227048 h 547704"/>
              <a:gd name="connsiteX147" fmla="*/ 213674 w 377653"/>
              <a:gd name="connsiteY147" fmla="*/ 231132 h 547704"/>
              <a:gd name="connsiteX148" fmla="*/ 212850 w 377653"/>
              <a:gd name="connsiteY148" fmla="*/ 230724 h 547704"/>
              <a:gd name="connsiteX149" fmla="*/ 203373 w 377653"/>
              <a:gd name="connsiteY149" fmla="*/ 225822 h 547704"/>
              <a:gd name="connsiteX150" fmla="*/ 188128 w 377653"/>
              <a:gd name="connsiteY150" fmla="*/ 184159 h 547704"/>
              <a:gd name="connsiteX151" fmla="*/ 246637 w 377653"/>
              <a:gd name="connsiteY151" fmla="*/ 117988 h 547704"/>
              <a:gd name="connsiteX152" fmla="*/ 274487 w 377653"/>
              <a:gd name="connsiteY152" fmla="*/ 34367 h 547704"/>
              <a:gd name="connsiteX153" fmla="*/ 274487 w 377653"/>
              <a:gd name="connsiteY153" fmla="*/ 56073 h 547704"/>
              <a:gd name="connsiteX154" fmla="*/ 308602 w 377653"/>
              <a:gd name="connsiteY154" fmla="*/ 90065 h 547704"/>
              <a:gd name="connsiteX155" fmla="*/ 348882 w 377653"/>
              <a:gd name="connsiteY155" fmla="*/ 90065 h 547704"/>
              <a:gd name="connsiteX156" fmla="*/ 51714 w 377653"/>
              <a:gd name="connsiteY156" fmla="*/ 26996 h 547704"/>
              <a:gd name="connsiteX157" fmla="*/ 45138 w 377653"/>
              <a:gd name="connsiteY157" fmla="*/ 33958 h 547704"/>
              <a:gd name="connsiteX158" fmla="*/ 45138 w 377653"/>
              <a:gd name="connsiteY158" fmla="*/ 389029 h 547704"/>
              <a:gd name="connsiteX159" fmla="*/ 45138 w 377653"/>
              <a:gd name="connsiteY159" fmla="*/ 493462 h 547704"/>
              <a:gd name="connsiteX160" fmla="*/ 51714 w 377653"/>
              <a:gd name="connsiteY160" fmla="*/ 500015 h 547704"/>
              <a:gd name="connsiteX161" fmla="*/ 356691 w 377653"/>
              <a:gd name="connsiteY161" fmla="*/ 500015 h 547704"/>
              <a:gd name="connsiteX162" fmla="*/ 363267 w 377653"/>
              <a:gd name="connsiteY162" fmla="*/ 493462 h 547704"/>
              <a:gd name="connsiteX163" fmla="*/ 363267 w 377653"/>
              <a:gd name="connsiteY163" fmla="*/ 452098 h 547704"/>
              <a:gd name="connsiteX164" fmla="*/ 363267 w 377653"/>
              <a:gd name="connsiteY164" fmla="*/ 104399 h 547704"/>
              <a:gd name="connsiteX165" fmla="*/ 308602 w 377653"/>
              <a:gd name="connsiteY165" fmla="*/ 104399 h 547704"/>
              <a:gd name="connsiteX166" fmla="*/ 260101 w 377653"/>
              <a:gd name="connsiteY166" fmla="*/ 56073 h 547704"/>
              <a:gd name="connsiteX167" fmla="*/ 260101 w 377653"/>
              <a:gd name="connsiteY167" fmla="*/ 26996 h 547704"/>
              <a:gd name="connsiteX168" fmla="*/ 51714 w 377653"/>
              <a:gd name="connsiteY168" fmla="*/ 12662 h 547704"/>
              <a:gd name="connsiteX169" fmla="*/ 266267 w 377653"/>
              <a:gd name="connsiteY169" fmla="*/ 12662 h 547704"/>
              <a:gd name="connsiteX170" fmla="*/ 266267 w 377653"/>
              <a:gd name="connsiteY170" fmla="*/ 13071 h 547704"/>
              <a:gd name="connsiteX171" fmla="*/ 271610 w 377653"/>
              <a:gd name="connsiteY171" fmla="*/ 14300 h 547704"/>
              <a:gd name="connsiteX172" fmla="*/ 374776 w 377653"/>
              <a:gd name="connsiteY172" fmla="*/ 91293 h 547704"/>
              <a:gd name="connsiteX173" fmla="*/ 377653 w 377653"/>
              <a:gd name="connsiteY173" fmla="*/ 97027 h 547704"/>
              <a:gd name="connsiteX174" fmla="*/ 377653 w 377653"/>
              <a:gd name="connsiteY174" fmla="*/ 452098 h 547704"/>
              <a:gd name="connsiteX175" fmla="*/ 377653 w 377653"/>
              <a:gd name="connsiteY175" fmla="*/ 493462 h 547704"/>
              <a:gd name="connsiteX176" fmla="*/ 377653 w 377653"/>
              <a:gd name="connsiteY176" fmla="*/ 524588 h 547704"/>
              <a:gd name="connsiteX177" fmla="*/ 356691 w 377653"/>
              <a:gd name="connsiteY177" fmla="*/ 545884 h 547704"/>
              <a:gd name="connsiteX178" fmla="*/ 51714 w 377653"/>
              <a:gd name="connsiteY178" fmla="*/ 545884 h 547704"/>
              <a:gd name="connsiteX179" fmla="*/ 30752 w 377653"/>
              <a:gd name="connsiteY179" fmla="*/ 524588 h 547704"/>
              <a:gd name="connsiteX180" fmla="*/ 30752 w 377653"/>
              <a:gd name="connsiteY180" fmla="*/ 493462 h 547704"/>
              <a:gd name="connsiteX181" fmla="*/ 30752 w 377653"/>
              <a:gd name="connsiteY181" fmla="*/ 389029 h 547704"/>
              <a:gd name="connsiteX182" fmla="*/ 30752 w 377653"/>
              <a:gd name="connsiteY182" fmla="*/ 33958 h 547704"/>
              <a:gd name="connsiteX183" fmla="*/ 51714 w 377653"/>
              <a:gd name="connsiteY183" fmla="*/ 12662 h 547704"/>
              <a:gd name="connsiteX184" fmla="*/ 345094 w 377653"/>
              <a:gd name="connsiteY184" fmla="*/ 0 h 547704"/>
              <a:gd name="connsiteX185" fmla="*/ 352494 w 377653"/>
              <a:gd name="connsiteY185" fmla="*/ 6989 h 547704"/>
              <a:gd name="connsiteX186" fmla="*/ 352494 w 377653"/>
              <a:gd name="connsiteY186" fmla="*/ 19733 h 547704"/>
              <a:gd name="connsiteX187" fmla="*/ 365238 w 377653"/>
              <a:gd name="connsiteY187" fmla="*/ 19733 h 547704"/>
              <a:gd name="connsiteX188" fmla="*/ 372227 w 377653"/>
              <a:gd name="connsiteY188" fmla="*/ 27133 h 547704"/>
              <a:gd name="connsiteX189" fmla="*/ 365238 w 377653"/>
              <a:gd name="connsiteY189" fmla="*/ 34122 h 547704"/>
              <a:gd name="connsiteX190" fmla="*/ 352494 w 377653"/>
              <a:gd name="connsiteY190" fmla="*/ 34122 h 547704"/>
              <a:gd name="connsiteX191" fmla="*/ 352494 w 377653"/>
              <a:gd name="connsiteY191" fmla="*/ 46867 h 547704"/>
              <a:gd name="connsiteX192" fmla="*/ 345094 w 377653"/>
              <a:gd name="connsiteY192" fmla="*/ 53856 h 547704"/>
              <a:gd name="connsiteX193" fmla="*/ 338105 w 377653"/>
              <a:gd name="connsiteY193" fmla="*/ 46867 h 547704"/>
              <a:gd name="connsiteX194" fmla="*/ 338105 w 377653"/>
              <a:gd name="connsiteY194" fmla="*/ 34122 h 547704"/>
              <a:gd name="connsiteX195" fmla="*/ 325360 w 377653"/>
              <a:gd name="connsiteY195" fmla="*/ 34122 h 547704"/>
              <a:gd name="connsiteX196" fmla="*/ 318371 w 377653"/>
              <a:gd name="connsiteY196" fmla="*/ 27133 h 547704"/>
              <a:gd name="connsiteX197" fmla="*/ 325360 w 377653"/>
              <a:gd name="connsiteY197" fmla="*/ 19733 h 547704"/>
              <a:gd name="connsiteX198" fmla="*/ 338105 w 377653"/>
              <a:gd name="connsiteY198" fmla="*/ 19733 h 547704"/>
              <a:gd name="connsiteX199" fmla="*/ 338105 w 377653"/>
              <a:gd name="connsiteY199" fmla="*/ 6989 h 547704"/>
              <a:gd name="connsiteX200" fmla="*/ 345094 w 377653"/>
              <a:gd name="connsiteY200" fmla="*/ 0 h 547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</a:cxnLst>
            <a:rect l="l" t="t" r="r" b="b"/>
            <a:pathLst>
              <a:path w="377653" h="547704">
                <a:moveTo>
                  <a:pt x="7029" y="524585"/>
                </a:moveTo>
                <a:cubicBezTo>
                  <a:pt x="11163" y="524585"/>
                  <a:pt x="14058" y="527375"/>
                  <a:pt x="14058" y="531361"/>
                </a:cubicBezTo>
                <a:lnTo>
                  <a:pt x="14058" y="540928"/>
                </a:lnTo>
                <a:cubicBezTo>
                  <a:pt x="14058" y="544515"/>
                  <a:pt x="11163" y="547704"/>
                  <a:pt x="7029" y="547704"/>
                </a:cubicBezTo>
                <a:cubicBezTo>
                  <a:pt x="3308" y="547704"/>
                  <a:pt x="0" y="544515"/>
                  <a:pt x="0" y="540928"/>
                </a:cubicBezTo>
                <a:lnTo>
                  <a:pt x="0" y="531361"/>
                </a:lnTo>
                <a:cubicBezTo>
                  <a:pt x="0" y="527375"/>
                  <a:pt x="3308" y="524585"/>
                  <a:pt x="7029" y="524585"/>
                </a:cubicBezTo>
                <a:close/>
                <a:moveTo>
                  <a:pt x="45138" y="513120"/>
                </a:moveTo>
                <a:lnTo>
                  <a:pt x="45138" y="524588"/>
                </a:lnTo>
                <a:cubicBezTo>
                  <a:pt x="45138" y="528683"/>
                  <a:pt x="48015" y="531550"/>
                  <a:pt x="51714" y="531550"/>
                </a:cubicBezTo>
                <a:lnTo>
                  <a:pt x="356691" y="531550"/>
                </a:lnTo>
                <a:cubicBezTo>
                  <a:pt x="359979" y="531550"/>
                  <a:pt x="363267" y="528683"/>
                  <a:pt x="363267" y="524588"/>
                </a:cubicBezTo>
                <a:lnTo>
                  <a:pt x="363267" y="513120"/>
                </a:lnTo>
                <a:cubicBezTo>
                  <a:pt x="361212" y="513530"/>
                  <a:pt x="359157" y="514349"/>
                  <a:pt x="356691" y="514349"/>
                </a:cubicBezTo>
                <a:lnTo>
                  <a:pt x="51714" y="514349"/>
                </a:lnTo>
                <a:cubicBezTo>
                  <a:pt x="49659" y="514349"/>
                  <a:pt x="47193" y="513530"/>
                  <a:pt x="45138" y="513120"/>
                </a:cubicBezTo>
                <a:close/>
                <a:moveTo>
                  <a:pt x="7029" y="454039"/>
                </a:moveTo>
                <a:cubicBezTo>
                  <a:pt x="11163" y="454039"/>
                  <a:pt x="14058" y="457297"/>
                  <a:pt x="14058" y="460963"/>
                </a:cubicBezTo>
                <a:lnTo>
                  <a:pt x="14058" y="508210"/>
                </a:lnTo>
                <a:cubicBezTo>
                  <a:pt x="14058" y="511876"/>
                  <a:pt x="11163" y="515134"/>
                  <a:pt x="7029" y="515134"/>
                </a:cubicBezTo>
                <a:cubicBezTo>
                  <a:pt x="3308" y="515134"/>
                  <a:pt x="0" y="511876"/>
                  <a:pt x="0" y="508210"/>
                </a:cubicBezTo>
                <a:lnTo>
                  <a:pt x="0" y="460963"/>
                </a:lnTo>
                <a:cubicBezTo>
                  <a:pt x="0" y="457297"/>
                  <a:pt x="3308" y="454039"/>
                  <a:pt x="7029" y="454039"/>
                </a:cubicBezTo>
                <a:close/>
                <a:moveTo>
                  <a:pt x="256626" y="437758"/>
                </a:moveTo>
                <a:lnTo>
                  <a:pt x="337685" y="437758"/>
                </a:lnTo>
                <a:cubicBezTo>
                  <a:pt x="341800" y="437758"/>
                  <a:pt x="345092" y="440572"/>
                  <a:pt x="345092" y="444591"/>
                </a:cubicBezTo>
                <a:cubicBezTo>
                  <a:pt x="345092" y="448611"/>
                  <a:pt x="341800" y="451827"/>
                  <a:pt x="337685" y="451827"/>
                </a:cubicBezTo>
                <a:lnTo>
                  <a:pt x="256626" y="451827"/>
                </a:lnTo>
                <a:cubicBezTo>
                  <a:pt x="252923" y="451827"/>
                  <a:pt x="249631" y="448611"/>
                  <a:pt x="249631" y="444591"/>
                </a:cubicBezTo>
                <a:cubicBezTo>
                  <a:pt x="249631" y="440572"/>
                  <a:pt x="252923" y="437758"/>
                  <a:pt x="256626" y="437758"/>
                </a:cubicBezTo>
                <a:close/>
                <a:moveTo>
                  <a:pt x="256626" y="390726"/>
                </a:moveTo>
                <a:lnTo>
                  <a:pt x="337685" y="390726"/>
                </a:lnTo>
                <a:cubicBezTo>
                  <a:pt x="341800" y="390726"/>
                  <a:pt x="345092" y="393942"/>
                  <a:pt x="345092" y="397961"/>
                </a:cubicBezTo>
                <a:cubicBezTo>
                  <a:pt x="345092" y="401579"/>
                  <a:pt x="341800" y="404795"/>
                  <a:pt x="337685" y="404795"/>
                </a:cubicBezTo>
                <a:lnTo>
                  <a:pt x="256626" y="404795"/>
                </a:lnTo>
                <a:cubicBezTo>
                  <a:pt x="252923" y="404795"/>
                  <a:pt x="249631" y="401579"/>
                  <a:pt x="249631" y="397961"/>
                </a:cubicBezTo>
                <a:cubicBezTo>
                  <a:pt x="249631" y="393942"/>
                  <a:pt x="252923" y="390726"/>
                  <a:pt x="256626" y="390726"/>
                </a:cubicBezTo>
                <a:close/>
                <a:moveTo>
                  <a:pt x="189570" y="390183"/>
                </a:moveTo>
                <a:lnTo>
                  <a:pt x="189570" y="439620"/>
                </a:lnTo>
                <a:lnTo>
                  <a:pt x="203462" y="439208"/>
                </a:lnTo>
                <a:lnTo>
                  <a:pt x="203462" y="390183"/>
                </a:lnTo>
                <a:close/>
                <a:moveTo>
                  <a:pt x="95591" y="358460"/>
                </a:moveTo>
                <a:lnTo>
                  <a:pt x="95591" y="439620"/>
                </a:lnTo>
                <a:lnTo>
                  <a:pt x="109892" y="439620"/>
                </a:lnTo>
                <a:lnTo>
                  <a:pt x="109892" y="358460"/>
                </a:lnTo>
                <a:close/>
                <a:moveTo>
                  <a:pt x="256575" y="343694"/>
                </a:moveTo>
                <a:lnTo>
                  <a:pt x="305591" y="343694"/>
                </a:lnTo>
                <a:cubicBezTo>
                  <a:pt x="309675" y="343694"/>
                  <a:pt x="312535" y="346910"/>
                  <a:pt x="312535" y="350929"/>
                </a:cubicBezTo>
                <a:cubicBezTo>
                  <a:pt x="312535" y="354547"/>
                  <a:pt x="309675" y="357763"/>
                  <a:pt x="305591" y="357763"/>
                </a:cubicBezTo>
                <a:lnTo>
                  <a:pt x="256575" y="357763"/>
                </a:lnTo>
                <a:cubicBezTo>
                  <a:pt x="252899" y="357763"/>
                  <a:pt x="249631" y="354547"/>
                  <a:pt x="249631" y="350929"/>
                </a:cubicBezTo>
                <a:cubicBezTo>
                  <a:pt x="249631" y="346910"/>
                  <a:pt x="252899" y="343694"/>
                  <a:pt x="256575" y="343694"/>
                </a:cubicBezTo>
                <a:close/>
                <a:moveTo>
                  <a:pt x="142989" y="326737"/>
                </a:moveTo>
                <a:lnTo>
                  <a:pt x="142989" y="439620"/>
                </a:lnTo>
                <a:lnTo>
                  <a:pt x="156473" y="439620"/>
                </a:lnTo>
                <a:lnTo>
                  <a:pt x="156473" y="327149"/>
                </a:lnTo>
                <a:close/>
                <a:moveTo>
                  <a:pt x="70257" y="296663"/>
                </a:moveTo>
                <a:cubicBezTo>
                  <a:pt x="73935" y="296663"/>
                  <a:pt x="77204" y="299959"/>
                  <a:pt x="77204" y="303666"/>
                </a:cubicBezTo>
                <a:lnTo>
                  <a:pt x="77204" y="439620"/>
                </a:lnTo>
                <a:lnTo>
                  <a:pt x="81698" y="439620"/>
                </a:lnTo>
                <a:lnTo>
                  <a:pt x="81698" y="355988"/>
                </a:lnTo>
                <a:cubicBezTo>
                  <a:pt x="81698" y="349396"/>
                  <a:pt x="87010" y="344041"/>
                  <a:pt x="93548" y="344041"/>
                </a:cubicBezTo>
                <a:lnTo>
                  <a:pt x="112344" y="344041"/>
                </a:lnTo>
                <a:cubicBezTo>
                  <a:pt x="118881" y="344041"/>
                  <a:pt x="123785" y="349396"/>
                  <a:pt x="123785" y="355988"/>
                </a:cubicBezTo>
                <a:lnTo>
                  <a:pt x="123785" y="439620"/>
                </a:lnTo>
                <a:lnTo>
                  <a:pt x="128279" y="439620"/>
                </a:lnTo>
                <a:lnTo>
                  <a:pt x="128279" y="324266"/>
                </a:lnTo>
                <a:cubicBezTo>
                  <a:pt x="128279" y="321382"/>
                  <a:pt x="129505" y="318086"/>
                  <a:pt x="131957" y="316026"/>
                </a:cubicBezTo>
                <a:cubicBezTo>
                  <a:pt x="134000" y="313966"/>
                  <a:pt x="137269" y="312730"/>
                  <a:pt x="140129" y="312730"/>
                </a:cubicBezTo>
                <a:lnTo>
                  <a:pt x="159333" y="312730"/>
                </a:lnTo>
                <a:cubicBezTo>
                  <a:pt x="165462" y="312730"/>
                  <a:pt x="170774" y="317674"/>
                  <a:pt x="170774" y="324266"/>
                </a:cubicBezTo>
                <a:lnTo>
                  <a:pt x="170774" y="439620"/>
                </a:lnTo>
                <a:lnTo>
                  <a:pt x="175269" y="439620"/>
                </a:lnTo>
                <a:lnTo>
                  <a:pt x="175269" y="387711"/>
                </a:lnTo>
                <a:cubicBezTo>
                  <a:pt x="175269" y="381119"/>
                  <a:pt x="180581" y="375763"/>
                  <a:pt x="187118" y="375763"/>
                </a:cubicBezTo>
                <a:lnTo>
                  <a:pt x="206323" y="375763"/>
                </a:lnTo>
                <a:cubicBezTo>
                  <a:pt x="212452" y="375763"/>
                  <a:pt x="217764" y="381119"/>
                  <a:pt x="217764" y="387711"/>
                </a:cubicBezTo>
                <a:lnTo>
                  <a:pt x="217764" y="439208"/>
                </a:lnTo>
                <a:lnTo>
                  <a:pt x="229205" y="439208"/>
                </a:lnTo>
                <a:cubicBezTo>
                  <a:pt x="233291" y="439208"/>
                  <a:pt x="236559" y="442504"/>
                  <a:pt x="236559" y="446624"/>
                </a:cubicBezTo>
                <a:cubicBezTo>
                  <a:pt x="236559" y="450332"/>
                  <a:pt x="233291" y="453628"/>
                  <a:pt x="229205" y="453628"/>
                </a:cubicBezTo>
                <a:lnTo>
                  <a:pt x="211635" y="453628"/>
                </a:lnTo>
                <a:cubicBezTo>
                  <a:pt x="210817" y="453628"/>
                  <a:pt x="210409" y="453628"/>
                  <a:pt x="209592" y="453628"/>
                </a:cubicBezTo>
                <a:lnTo>
                  <a:pt x="183032" y="453628"/>
                </a:lnTo>
                <a:cubicBezTo>
                  <a:pt x="182624" y="453628"/>
                  <a:pt x="181806" y="453628"/>
                  <a:pt x="181806" y="453628"/>
                </a:cubicBezTo>
                <a:lnTo>
                  <a:pt x="164645" y="453628"/>
                </a:lnTo>
                <a:cubicBezTo>
                  <a:pt x="164236" y="453628"/>
                  <a:pt x="163419" y="453628"/>
                  <a:pt x="163011" y="453628"/>
                </a:cubicBezTo>
                <a:lnTo>
                  <a:pt x="136451" y="453628"/>
                </a:lnTo>
                <a:cubicBezTo>
                  <a:pt x="136043" y="453628"/>
                  <a:pt x="135225" y="453628"/>
                  <a:pt x="134408" y="453628"/>
                </a:cubicBezTo>
                <a:lnTo>
                  <a:pt x="117655" y="453628"/>
                </a:lnTo>
                <a:cubicBezTo>
                  <a:pt x="117247" y="453628"/>
                  <a:pt x="116838" y="453628"/>
                  <a:pt x="116430" y="453628"/>
                </a:cubicBezTo>
                <a:lnTo>
                  <a:pt x="89462" y="453628"/>
                </a:lnTo>
                <a:cubicBezTo>
                  <a:pt x="88645" y="453628"/>
                  <a:pt x="88645" y="453628"/>
                  <a:pt x="87827" y="453628"/>
                </a:cubicBezTo>
                <a:lnTo>
                  <a:pt x="77204" y="453628"/>
                </a:lnTo>
                <a:cubicBezTo>
                  <a:pt x="69032" y="453628"/>
                  <a:pt x="63311" y="447448"/>
                  <a:pt x="63311" y="439620"/>
                </a:cubicBezTo>
                <a:lnTo>
                  <a:pt x="63311" y="303666"/>
                </a:lnTo>
                <a:cubicBezTo>
                  <a:pt x="63311" y="299959"/>
                  <a:pt x="66171" y="296663"/>
                  <a:pt x="70257" y="296663"/>
                </a:cubicBezTo>
                <a:close/>
                <a:moveTo>
                  <a:pt x="70276" y="247822"/>
                </a:moveTo>
                <a:lnTo>
                  <a:pt x="164476" y="247822"/>
                </a:lnTo>
                <a:cubicBezTo>
                  <a:pt x="168162" y="247822"/>
                  <a:pt x="171439" y="250636"/>
                  <a:pt x="171439" y="255057"/>
                </a:cubicBezTo>
                <a:cubicBezTo>
                  <a:pt x="171439" y="258675"/>
                  <a:pt x="168162" y="261891"/>
                  <a:pt x="164476" y="261891"/>
                </a:cubicBezTo>
                <a:lnTo>
                  <a:pt x="70276" y="261891"/>
                </a:lnTo>
                <a:cubicBezTo>
                  <a:pt x="66180" y="261891"/>
                  <a:pt x="63313" y="258675"/>
                  <a:pt x="63313" y="255057"/>
                </a:cubicBezTo>
                <a:cubicBezTo>
                  <a:pt x="63313" y="250636"/>
                  <a:pt x="66180" y="247822"/>
                  <a:pt x="70276" y="247822"/>
                </a:cubicBezTo>
                <a:close/>
                <a:moveTo>
                  <a:pt x="70276" y="200790"/>
                </a:moveTo>
                <a:lnTo>
                  <a:pt x="164476" y="200790"/>
                </a:lnTo>
                <a:cubicBezTo>
                  <a:pt x="168162" y="200790"/>
                  <a:pt x="171439" y="204310"/>
                  <a:pt x="171439" y="207830"/>
                </a:cubicBezTo>
                <a:cubicBezTo>
                  <a:pt x="171439" y="211741"/>
                  <a:pt x="168162" y="214870"/>
                  <a:pt x="164476" y="214870"/>
                </a:cubicBezTo>
                <a:lnTo>
                  <a:pt x="70276" y="214870"/>
                </a:lnTo>
                <a:cubicBezTo>
                  <a:pt x="66180" y="214870"/>
                  <a:pt x="63313" y="211741"/>
                  <a:pt x="63313" y="207830"/>
                </a:cubicBezTo>
                <a:cubicBezTo>
                  <a:pt x="63313" y="204310"/>
                  <a:pt x="66180" y="200790"/>
                  <a:pt x="70276" y="200790"/>
                </a:cubicBezTo>
                <a:close/>
                <a:moveTo>
                  <a:pt x="70222" y="153758"/>
                </a:moveTo>
                <a:lnTo>
                  <a:pt x="147846" y="153758"/>
                </a:lnTo>
                <a:cubicBezTo>
                  <a:pt x="152317" y="153758"/>
                  <a:pt x="155162" y="156572"/>
                  <a:pt x="155162" y="160591"/>
                </a:cubicBezTo>
                <a:cubicBezTo>
                  <a:pt x="155162" y="164209"/>
                  <a:pt x="152317" y="167827"/>
                  <a:pt x="147846" y="167827"/>
                </a:cubicBezTo>
                <a:lnTo>
                  <a:pt x="70222" y="167827"/>
                </a:lnTo>
                <a:cubicBezTo>
                  <a:pt x="66158" y="167827"/>
                  <a:pt x="63313" y="164209"/>
                  <a:pt x="63313" y="160591"/>
                </a:cubicBezTo>
                <a:cubicBezTo>
                  <a:pt x="63313" y="156572"/>
                  <a:pt x="66158" y="153758"/>
                  <a:pt x="70222" y="153758"/>
                </a:cubicBezTo>
                <a:close/>
                <a:moveTo>
                  <a:pt x="285369" y="145024"/>
                </a:moveTo>
                <a:lnTo>
                  <a:pt x="285369" y="195529"/>
                </a:lnTo>
                <a:cubicBezTo>
                  <a:pt x="285369" y="199635"/>
                  <a:pt x="283732" y="203331"/>
                  <a:pt x="280869" y="206616"/>
                </a:cubicBezTo>
                <a:lnTo>
                  <a:pt x="247733" y="239465"/>
                </a:lnTo>
                <a:cubicBezTo>
                  <a:pt x="256733" y="246035"/>
                  <a:pt x="267778" y="249320"/>
                  <a:pt x="278414" y="249320"/>
                </a:cubicBezTo>
                <a:cubicBezTo>
                  <a:pt x="307050" y="249320"/>
                  <a:pt x="330368" y="225915"/>
                  <a:pt x="330368" y="196761"/>
                </a:cubicBezTo>
                <a:cubicBezTo>
                  <a:pt x="330368" y="170482"/>
                  <a:pt x="311141" y="148309"/>
                  <a:pt x="285369" y="145024"/>
                </a:cubicBezTo>
                <a:close/>
                <a:moveTo>
                  <a:pt x="247873" y="132284"/>
                </a:moveTo>
                <a:cubicBezTo>
                  <a:pt x="221915" y="135552"/>
                  <a:pt x="202137" y="157609"/>
                  <a:pt x="202137" y="184159"/>
                </a:cubicBezTo>
                <a:cubicBezTo>
                  <a:pt x="202137" y="195596"/>
                  <a:pt x="206258" y="207033"/>
                  <a:pt x="214086" y="216428"/>
                </a:cubicBezTo>
                <a:lnTo>
                  <a:pt x="247461" y="183342"/>
                </a:lnTo>
                <a:cubicBezTo>
                  <a:pt x="247461" y="182934"/>
                  <a:pt x="247873" y="182934"/>
                  <a:pt x="247873" y="182525"/>
                </a:cubicBezTo>
                <a:close/>
                <a:moveTo>
                  <a:pt x="278414" y="130242"/>
                </a:moveTo>
                <a:cubicBezTo>
                  <a:pt x="315232" y="130242"/>
                  <a:pt x="345095" y="160217"/>
                  <a:pt x="345095" y="196761"/>
                </a:cubicBezTo>
                <a:cubicBezTo>
                  <a:pt x="345095" y="233716"/>
                  <a:pt x="315232" y="263691"/>
                  <a:pt x="278414" y="263691"/>
                </a:cubicBezTo>
                <a:cubicBezTo>
                  <a:pt x="262051" y="263691"/>
                  <a:pt x="246506" y="257943"/>
                  <a:pt x="234642" y="246856"/>
                </a:cubicBezTo>
                <a:cubicBezTo>
                  <a:pt x="233824" y="246856"/>
                  <a:pt x="233824" y="246445"/>
                  <a:pt x="233415" y="245624"/>
                </a:cubicBezTo>
                <a:cubicBezTo>
                  <a:pt x="233006" y="245214"/>
                  <a:pt x="232597" y="245214"/>
                  <a:pt x="232597" y="245214"/>
                </a:cubicBezTo>
                <a:cubicBezTo>
                  <a:pt x="229733" y="242339"/>
                  <a:pt x="229733" y="237822"/>
                  <a:pt x="232597" y="234948"/>
                </a:cubicBezTo>
                <a:lnTo>
                  <a:pt x="271051" y="196351"/>
                </a:lnTo>
                <a:cubicBezTo>
                  <a:pt x="271051" y="195940"/>
                  <a:pt x="271051" y="195940"/>
                  <a:pt x="271051" y="195529"/>
                </a:cubicBezTo>
                <a:lnTo>
                  <a:pt x="271051" y="137222"/>
                </a:lnTo>
                <a:cubicBezTo>
                  <a:pt x="271051" y="133116"/>
                  <a:pt x="274732" y="130242"/>
                  <a:pt x="278414" y="130242"/>
                </a:cubicBezTo>
                <a:close/>
                <a:moveTo>
                  <a:pt x="246637" y="117988"/>
                </a:moveTo>
                <a:cubicBezTo>
                  <a:pt x="250345" y="117580"/>
                  <a:pt x="254053" y="118805"/>
                  <a:pt x="257350" y="121256"/>
                </a:cubicBezTo>
                <a:cubicBezTo>
                  <a:pt x="260234" y="124115"/>
                  <a:pt x="261882" y="127791"/>
                  <a:pt x="261882" y="131467"/>
                </a:cubicBezTo>
                <a:lnTo>
                  <a:pt x="261882" y="182525"/>
                </a:lnTo>
                <a:cubicBezTo>
                  <a:pt x="261882" y="186610"/>
                  <a:pt x="260234" y="190695"/>
                  <a:pt x="257350" y="193145"/>
                </a:cubicBezTo>
                <a:lnTo>
                  <a:pt x="223975" y="227048"/>
                </a:lnTo>
                <a:cubicBezTo>
                  <a:pt x="221091" y="229498"/>
                  <a:pt x="217382" y="231132"/>
                  <a:pt x="213674" y="231132"/>
                </a:cubicBezTo>
                <a:cubicBezTo>
                  <a:pt x="213674" y="231132"/>
                  <a:pt x="213262" y="231132"/>
                  <a:pt x="212850" y="230724"/>
                </a:cubicBezTo>
                <a:cubicBezTo>
                  <a:pt x="209142" y="230724"/>
                  <a:pt x="205845" y="229090"/>
                  <a:pt x="203373" y="225822"/>
                </a:cubicBezTo>
                <a:cubicBezTo>
                  <a:pt x="193484" y="214385"/>
                  <a:pt x="188128" y="199272"/>
                  <a:pt x="188128" y="184159"/>
                </a:cubicBezTo>
                <a:cubicBezTo>
                  <a:pt x="188128" y="150257"/>
                  <a:pt x="212850" y="122481"/>
                  <a:pt x="246637" y="117988"/>
                </a:cubicBezTo>
                <a:close/>
                <a:moveTo>
                  <a:pt x="274487" y="34367"/>
                </a:moveTo>
                <a:lnTo>
                  <a:pt x="274487" y="56073"/>
                </a:lnTo>
                <a:cubicBezTo>
                  <a:pt x="274487" y="74502"/>
                  <a:pt x="289695" y="90065"/>
                  <a:pt x="308602" y="90065"/>
                </a:cubicBezTo>
                <a:lnTo>
                  <a:pt x="348882" y="90065"/>
                </a:lnTo>
                <a:close/>
                <a:moveTo>
                  <a:pt x="51714" y="26996"/>
                </a:moveTo>
                <a:cubicBezTo>
                  <a:pt x="48015" y="26996"/>
                  <a:pt x="45138" y="29862"/>
                  <a:pt x="45138" y="33958"/>
                </a:cubicBezTo>
                <a:lnTo>
                  <a:pt x="45138" y="389029"/>
                </a:lnTo>
                <a:lnTo>
                  <a:pt x="45138" y="493462"/>
                </a:lnTo>
                <a:cubicBezTo>
                  <a:pt x="45138" y="497148"/>
                  <a:pt x="48015" y="500015"/>
                  <a:pt x="51714" y="500015"/>
                </a:cubicBezTo>
                <a:lnTo>
                  <a:pt x="356691" y="500015"/>
                </a:lnTo>
                <a:cubicBezTo>
                  <a:pt x="359979" y="500015"/>
                  <a:pt x="363267" y="497148"/>
                  <a:pt x="363267" y="493462"/>
                </a:cubicBezTo>
                <a:lnTo>
                  <a:pt x="363267" y="452098"/>
                </a:lnTo>
                <a:lnTo>
                  <a:pt x="363267" y="104399"/>
                </a:lnTo>
                <a:lnTo>
                  <a:pt x="308602" y="104399"/>
                </a:lnTo>
                <a:cubicBezTo>
                  <a:pt x="281885" y="104399"/>
                  <a:pt x="260101" y="82284"/>
                  <a:pt x="260101" y="56073"/>
                </a:cubicBezTo>
                <a:lnTo>
                  <a:pt x="260101" y="26996"/>
                </a:lnTo>
                <a:close/>
                <a:moveTo>
                  <a:pt x="51714" y="12662"/>
                </a:moveTo>
                <a:lnTo>
                  <a:pt x="266267" y="12662"/>
                </a:lnTo>
                <a:lnTo>
                  <a:pt x="266267" y="13071"/>
                </a:lnTo>
                <a:cubicBezTo>
                  <a:pt x="267911" y="12662"/>
                  <a:pt x="269966" y="13071"/>
                  <a:pt x="271610" y="14300"/>
                </a:cubicBezTo>
                <a:lnTo>
                  <a:pt x="374776" y="91293"/>
                </a:lnTo>
                <a:cubicBezTo>
                  <a:pt x="376420" y="92932"/>
                  <a:pt x="377653" y="94979"/>
                  <a:pt x="377653" y="97027"/>
                </a:cubicBezTo>
                <a:lnTo>
                  <a:pt x="377653" y="452098"/>
                </a:lnTo>
                <a:lnTo>
                  <a:pt x="377653" y="493462"/>
                </a:lnTo>
                <a:lnTo>
                  <a:pt x="377653" y="524588"/>
                </a:lnTo>
                <a:cubicBezTo>
                  <a:pt x="377653" y="536464"/>
                  <a:pt x="368200" y="545884"/>
                  <a:pt x="356691" y="545884"/>
                </a:cubicBezTo>
                <a:lnTo>
                  <a:pt x="51714" y="545884"/>
                </a:lnTo>
                <a:cubicBezTo>
                  <a:pt x="40206" y="545884"/>
                  <a:pt x="30752" y="536464"/>
                  <a:pt x="30752" y="524588"/>
                </a:cubicBezTo>
                <a:lnTo>
                  <a:pt x="30752" y="493462"/>
                </a:lnTo>
                <a:lnTo>
                  <a:pt x="30752" y="389029"/>
                </a:lnTo>
                <a:lnTo>
                  <a:pt x="30752" y="33958"/>
                </a:lnTo>
                <a:cubicBezTo>
                  <a:pt x="30752" y="22081"/>
                  <a:pt x="40206" y="12662"/>
                  <a:pt x="51714" y="12662"/>
                </a:cubicBezTo>
                <a:close/>
                <a:moveTo>
                  <a:pt x="345094" y="0"/>
                </a:moveTo>
                <a:cubicBezTo>
                  <a:pt x="349205" y="0"/>
                  <a:pt x="352494" y="3289"/>
                  <a:pt x="352494" y="6989"/>
                </a:cubicBezTo>
                <a:lnTo>
                  <a:pt x="352494" y="19733"/>
                </a:lnTo>
                <a:lnTo>
                  <a:pt x="365238" y="19733"/>
                </a:lnTo>
                <a:cubicBezTo>
                  <a:pt x="368938" y="19733"/>
                  <a:pt x="372227" y="23433"/>
                  <a:pt x="372227" y="27133"/>
                </a:cubicBezTo>
                <a:cubicBezTo>
                  <a:pt x="372227" y="30833"/>
                  <a:pt x="368938" y="34122"/>
                  <a:pt x="365238" y="34122"/>
                </a:cubicBezTo>
                <a:lnTo>
                  <a:pt x="352494" y="34122"/>
                </a:lnTo>
                <a:lnTo>
                  <a:pt x="352494" y="46867"/>
                </a:lnTo>
                <a:cubicBezTo>
                  <a:pt x="352494" y="50978"/>
                  <a:pt x="349205" y="53856"/>
                  <a:pt x="345094" y="53856"/>
                </a:cubicBezTo>
                <a:cubicBezTo>
                  <a:pt x="341393" y="53856"/>
                  <a:pt x="338105" y="50978"/>
                  <a:pt x="338105" y="46867"/>
                </a:cubicBezTo>
                <a:lnTo>
                  <a:pt x="338105" y="34122"/>
                </a:lnTo>
                <a:lnTo>
                  <a:pt x="325360" y="34122"/>
                </a:lnTo>
                <a:cubicBezTo>
                  <a:pt x="321660" y="34122"/>
                  <a:pt x="318371" y="30833"/>
                  <a:pt x="318371" y="27133"/>
                </a:cubicBezTo>
                <a:cubicBezTo>
                  <a:pt x="318371" y="23433"/>
                  <a:pt x="321660" y="19733"/>
                  <a:pt x="325360" y="19733"/>
                </a:cubicBezTo>
                <a:lnTo>
                  <a:pt x="338105" y="19733"/>
                </a:lnTo>
                <a:lnTo>
                  <a:pt x="338105" y="6989"/>
                </a:lnTo>
                <a:cubicBezTo>
                  <a:pt x="338105" y="3289"/>
                  <a:pt x="341393" y="0"/>
                  <a:pt x="345094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7" name="Freeform 4">
            <a:extLst>
              <a:ext uri="{FF2B5EF4-FFF2-40B4-BE49-F238E27FC236}">
                <a16:creationId xmlns:a16="http://schemas.microsoft.com/office/drawing/2014/main" id="{D1F069E2-5DA7-4600-85A2-489EAB2FD1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688" y="5905504"/>
            <a:ext cx="648236" cy="639643"/>
          </a:xfrm>
          <a:custGeom>
            <a:avLst/>
            <a:gdLst>
              <a:gd name="connsiteX0" fmla="*/ 235485 w 545883"/>
              <a:gd name="connsiteY0" fmla="*/ 393071 h 538647"/>
              <a:gd name="connsiteX1" fmla="*/ 216729 w 545883"/>
              <a:gd name="connsiteY1" fmla="*/ 412230 h 538647"/>
              <a:gd name="connsiteX2" fmla="*/ 228146 w 545883"/>
              <a:gd name="connsiteY2" fmla="*/ 412230 h 538647"/>
              <a:gd name="connsiteX3" fmla="*/ 235485 w 545883"/>
              <a:gd name="connsiteY3" fmla="*/ 404893 h 538647"/>
              <a:gd name="connsiteX4" fmla="*/ 442901 w 545883"/>
              <a:gd name="connsiteY4" fmla="*/ 392534 h 538647"/>
              <a:gd name="connsiteX5" fmla="*/ 449853 w 545883"/>
              <a:gd name="connsiteY5" fmla="*/ 399828 h 538647"/>
              <a:gd name="connsiteX6" fmla="*/ 449853 w 545883"/>
              <a:gd name="connsiteY6" fmla="*/ 428597 h 538647"/>
              <a:gd name="connsiteX7" fmla="*/ 475619 w 545883"/>
              <a:gd name="connsiteY7" fmla="*/ 428597 h 538647"/>
              <a:gd name="connsiteX8" fmla="*/ 482571 w 545883"/>
              <a:gd name="connsiteY8" fmla="*/ 435485 h 538647"/>
              <a:gd name="connsiteX9" fmla="*/ 475619 w 545883"/>
              <a:gd name="connsiteY9" fmla="*/ 442779 h 538647"/>
              <a:gd name="connsiteX10" fmla="*/ 442901 w 545883"/>
              <a:gd name="connsiteY10" fmla="*/ 442779 h 538647"/>
              <a:gd name="connsiteX11" fmla="*/ 435948 w 545883"/>
              <a:gd name="connsiteY11" fmla="*/ 435485 h 538647"/>
              <a:gd name="connsiteX12" fmla="*/ 435948 w 545883"/>
              <a:gd name="connsiteY12" fmla="*/ 399828 h 538647"/>
              <a:gd name="connsiteX13" fmla="*/ 442901 w 545883"/>
              <a:gd name="connsiteY13" fmla="*/ 392534 h 538647"/>
              <a:gd name="connsiteX14" fmla="*/ 444089 w 545883"/>
              <a:gd name="connsiteY14" fmla="*/ 385180 h 538647"/>
              <a:gd name="connsiteX15" fmla="*/ 392416 w 545883"/>
              <a:gd name="connsiteY15" fmla="*/ 436443 h 538647"/>
              <a:gd name="connsiteX16" fmla="*/ 444089 w 545883"/>
              <a:gd name="connsiteY16" fmla="*/ 488115 h 538647"/>
              <a:gd name="connsiteX17" fmla="*/ 495351 w 545883"/>
              <a:gd name="connsiteY17" fmla="*/ 436443 h 538647"/>
              <a:gd name="connsiteX18" fmla="*/ 444089 w 545883"/>
              <a:gd name="connsiteY18" fmla="*/ 385180 h 538647"/>
              <a:gd name="connsiteX19" fmla="*/ 444089 w 545883"/>
              <a:gd name="connsiteY19" fmla="*/ 370827 h 538647"/>
              <a:gd name="connsiteX20" fmla="*/ 509704 w 545883"/>
              <a:gd name="connsiteY20" fmla="*/ 436443 h 538647"/>
              <a:gd name="connsiteX21" fmla="*/ 444089 w 545883"/>
              <a:gd name="connsiteY21" fmla="*/ 502468 h 538647"/>
              <a:gd name="connsiteX22" fmla="*/ 378063 w 545883"/>
              <a:gd name="connsiteY22" fmla="*/ 436443 h 538647"/>
              <a:gd name="connsiteX23" fmla="*/ 444089 w 545883"/>
              <a:gd name="connsiteY23" fmla="*/ 370827 h 538647"/>
              <a:gd name="connsiteX24" fmla="*/ 231000 w 545883"/>
              <a:gd name="connsiteY24" fmla="*/ 359236 h 538647"/>
              <a:gd name="connsiteX25" fmla="*/ 228961 w 545883"/>
              <a:gd name="connsiteY25" fmla="*/ 360459 h 538647"/>
              <a:gd name="connsiteX26" fmla="*/ 204904 w 545883"/>
              <a:gd name="connsiteY26" fmla="*/ 384918 h 538647"/>
              <a:gd name="connsiteX27" fmla="*/ 196749 w 545883"/>
              <a:gd name="connsiteY27" fmla="*/ 388179 h 538647"/>
              <a:gd name="connsiteX28" fmla="*/ 188594 w 545883"/>
              <a:gd name="connsiteY28" fmla="*/ 384918 h 538647"/>
              <a:gd name="connsiteX29" fmla="*/ 182886 w 545883"/>
              <a:gd name="connsiteY29" fmla="*/ 379210 h 538647"/>
              <a:gd name="connsiteX30" fmla="*/ 180439 w 545883"/>
              <a:gd name="connsiteY30" fmla="*/ 377988 h 538647"/>
              <a:gd name="connsiteX31" fmla="*/ 179216 w 545883"/>
              <a:gd name="connsiteY31" fmla="*/ 377580 h 538647"/>
              <a:gd name="connsiteX32" fmla="*/ 177993 w 545883"/>
              <a:gd name="connsiteY32" fmla="*/ 377580 h 538647"/>
              <a:gd name="connsiteX33" fmla="*/ 175954 w 545883"/>
              <a:gd name="connsiteY33" fmla="*/ 377580 h 538647"/>
              <a:gd name="connsiteX34" fmla="*/ 175546 w 545883"/>
              <a:gd name="connsiteY34" fmla="*/ 377580 h 538647"/>
              <a:gd name="connsiteX35" fmla="*/ 173916 w 545883"/>
              <a:gd name="connsiteY35" fmla="*/ 378803 h 538647"/>
              <a:gd name="connsiteX36" fmla="*/ 173508 w 545883"/>
              <a:gd name="connsiteY36" fmla="*/ 379210 h 538647"/>
              <a:gd name="connsiteX37" fmla="*/ 173100 w 545883"/>
              <a:gd name="connsiteY37" fmla="*/ 379618 h 538647"/>
              <a:gd name="connsiteX38" fmla="*/ 173508 w 545883"/>
              <a:gd name="connsiteY38" fmla="*/ 388994 h 538647"/>
              <a:gd name="connsiteX39" fmla="*/ 189002 w 545883"/>
              <a:gd name="connsiteY39" fmla="*/ 404485 h 538647"/>
              <a:gd name="connsiteX40" fmla="*/ 201234 w 545883"/>
              <a:gd name="connsiteY40" fmla="*/ 406523 h 538647"/>
              <a:gd name="connsiteX41" fmla="*/ 204496 w 545883"/>
              <a:gd name="connsiteY41" fmla="*/ 404485 h 538647"/>
              <a:gd name="connsiteX42" fmla="*/ 230592 w 545883"/>
              <a:gd name="connsiteY42" fmla="*/ 377580 h 538647"/>
              <a:gd name="connsiteX43" fmla="*/ 238339 w 545883"/>
              <a:gd name="connsiteY43" fmla="*/ 370242 h 538647"/>
              <a:gd name="connsiteX44" fmla="*/ 240378 w 545883"/>
              <a:gd name="connsiteY44" fmla="*/ 365351 h 538647"/>
              <a:gd name="connsiteX45" fmla="*/ 238339 w 545883"/>
              <a:gd name="connsiteY45" fmla="*/ 360459 h 538647"/>
              <a:gd name="connsiteX46" fmla="*/ 236301 w 545883"/>
              <a:gd name="connsiteY46" fmla="*/ 359236 h 538647"/>
              <a:gd name="connsiteX47" fmla="*/ 235485 w 545883"/>
              <a:gd name="connsiteY47" fmla="*/ 359236 h 538647"/>
              <a:gd name="connsiteX48" fmla="*/ 233854 w 545883"/>
              <a:gd name="connsiteY48" fmla="*/ 359236 h 538647"/>
              <a:gd name="connsiteX49" fmla="*/ 233446 w 545883"/>
              <a:gd name="connsiteY49" fmla="*/ 359236 h 538647"/>
              <a:gd name="connsiteX50" fmla="*/ 231408 w 545883"/>
              <a:gd name="connsiteY50" fmla="*/ 359236 h 538647"/>
              <a:gd name="connsiteX51" fmla="*/ 231000 w 545883"/>
              <a:gd name="connsiteY51" fmla="*/ 359236 h 538647"/>
              <a:gd name="connsiteX52" fmla="*/ 182886 w 545883"/>
              <a:gd name="connsiteY52" fmla="*/ 354344 h 538647"/>
              <a:gd name="connsiteX53" fmla="*/ 175954 w 545883"/>
              <a:gd name="connsiteY53" fmla="*/ 361274 h 538647"/>
              <a:gd name="connsiteX54" fmla="*/ 175954 w 545883"/>
              <a:gd name="connsiteY54" fmla="*/ 363312 h 538647"/>
              <a:gd name="connsiteX55" fmla="*/ 176770 w 545883"/>
              <a:gd name="connsiteY55" fmla="*/ 363312 h 538647"/>
              <a:gd name="connsiteX56" fmla="*/ 180032 w 545883"/>
              <a:gd name="connsiteY56" fmla="*/ 363312 h 538647"/>
              <a:gd name="connsiteX57" fmla="*/ 180847 w 545883"/>
              <a:gd name="connsiteY57" fmla="*/ 363312 h 538647"/>
              <a:gd name="connsiteX58" fmla="*/ 184109 w 545883"/>
              <a:gd name="connsiteY58" fmla="*/ 364128 h 538647"/>
              <a:gd name="connsiteX59" fmla="*/ 184925 w 545883"/>
              <a:gd name="connsiteY59" fmla="*/ 364535 h 538647"/>
              <a:gd name="connsiteX60" fmla="*/ 188187 w 545883"/>
              <a:gd name="connsiteY60" fmla="*/ 366166 h 538647"/>
              <a:gd name="connsiteX61" fmla="*/ 189410 w 545883"/>
              <a:gd name="connsiteY61" fmla="*/ 366166 h 538647"/>
              <a:gd name="connsiteX62" fmla="*/ 192672 w 545883"/>
              <a:gd name="connsiteY62" fmla="*/ 369427 h 538647"/>
              <a:gd name="connsiteX63" fmla="*/ 196749 w 545883"/>
              <a:gd name="connsiteY63" fmla="*/ 373096 h 538647"/>
              <a:gd name="connsiteX64" fmla="*/ 215098 w 545883"/>
              <a:gd name="connsiteY64" fmla="*/ 354344 h 538647"/>
              <a:gd name="connsiteX65" fmla="*/ 64752 w 545883"/>
              <a:gd name="connsiteY65" fmla="*/ 354344 h 538647"/>
              <a:gd name="connsiteX66" fmla="*/ 57776 w 545883"/>
              <a:gd name="connsiteY66" fmla="*/ 361274 h 538647"/>
              <a:gd name="connsiteX67" fmla="*/ 57776 w 545883"/>
              <a:gd name="connsiteY67" fmla="*/ 404893 h 538647"/>
              <a:gd name="connsiteX68" fmla="*/ 64752 w 545883"/>
              <a:gd name="connsiteY68" fmla="*/ 412230 h 538647"/>
              <a:gd name="connsiteX69" fmla="*/ 110301 w 545883"/>
              <a:gd name="connsiteY69" fmla="*/ 412230 h 538647"/>
              <a:gd name="connsiteX70" fmla="*/ 117277 w 545883"/>
              <a:gd name="connsiteY70" fmla="*/ 404893 h 538647"/>
              <a:gd name="connsiteX71" fmla="*/ 117277 w 545883"/>
              <a:gd name="connsiteY71" fmla="*/ 361274 h 538647"/>
              <a:gd name="connsiteX72" fmla="*/ 110301 w 545883"/>
              <a:gd name="connsiteY72" fmla="*/ 354344 h 538647"/>
              <a:gd name="connsiteX73" fmla="*/ 301779 w 545883"/>
              <a:gd name="connsiteY73" fmla="*/ 340077 h 538647"/>
              <a:gd name="connsiteX74" fmla="*/ 347457 w 545883"/>
              <a:gd name="connsiteY74" fmla="*/ 340077 h 538647"/>
              <a:gd name="connsiteX75" fmla="*/ 364328 w 545883"/>
              <a:gd name="connsiteY75" fmla="*/ 348637 h 538647"/>
              <a:gd name="connsiteX76" fmla="*/ 362682 w 545883"/>
              <a:gd name="connsiteY76" fmla="*/ 358013 h 538647"/>
              <a:gd name="connsiteX77" fmla="*/ 352806 w 545883"/>
              <a:gd name="connsiteY77" fmla="*/ 356790 h 538647"/>
              <a:gd name="connsiteX78" fmla="*/ 347457 w 545883"/>
              <a:gd name="connsiteY78" fmla="*/ 354344 h 538647"/>
              <a:gd name="connsiteX79" fmla="*/ 301779 w 545883"/>
              <a:gd name="connsiteY79" fmla="*/ 354344 h 538647"/>
              <a:gd name="connsiteX80" fmla="*/ 294372 w 545883"/>
              <a:gd name="connsiteY80" fmla="*/ 361274 h 538647"/>
              <a:gd name="connsiteX81" fmla="*/ 294372 w 545883"/>
              <a:gd name="connsiteY81" fmla="*/ 404893 h 538647"/>
              <a:gd name="connsiteX82" fmla="*/ 301779 w 545883"/>
              <a:gd name="connsiteY82" fmla="*/ 412230 h 538647"/>
              <a:gd name="connsiteX83" fmla="*/ 326058 w 545883"/>
              <a:gd name="connsiteY83" fmla="*/ 412230 h 538647"/>
              <a:gd name="connsiteX84" fmla="*/ 333054 w 545883"/>
              <a:gd name="connsiteY84" fmla="*/ 419160 h 538647"/>
              <a:gd name="connsiteX85" fmla="*/ 326058 w 545883"/>
              <a:gd name="connsiteY85" fmla="*/ 426498 h 538647"/>
              <a:gd name="connsiteX86" fmla="*/ 301779 w 545883"/>
              <a:gd name="connsiteY86" fmla="*/ 426498 h 538647"/>
              <a:gd name="connsiteX87" fmla="*/ 280381 w 545883"/>
              <a:gd name="connsiteY87" fmla="*/ 404893 h 538647"/>
              <a:gd name="connsiteX88" fmla="*/ 280381 w 545883"/>
              <a:gd name="connsiteY88" fmla="*/ 361274 h 538647"/>
              <a:gd name="connsiteX89" fmla="*/ 301779 w 545883"/>
              <a:gd name="connsiteY89" fmla="*/ 340077 h 538647"/>
              <a:gd name="connsiteX90" fmla="*/ 182886 w 545883"/>
              <a:gd name="connsiteY90" fmla="*/ 340077 h 538647"/>
              <a:gd name="connsiteX91" fmla="*/ 228146 w 545883"/>
              <a:gd name="connsiteY91" fmla="*/ 340077 h 538647"/>
              <a:gd name="connsiteX92" fmla="*/ 244863 w 545883"/>
              <a:gd name="connsiteY92" fmla="*/ 347822 h 538647"/>
              <a:gd name="connsiteX93" fmla="*/ 248533 w 545883"/>
              <a:gd name="connsiteY93" fmla="*/ 350675 h 538647"/>
              <a:gd name="connsiteX94" fmla="*/ 254649 w 545883"/>
              <a:gd name="connsiteY94" fmla="*/ 365351 h 538647"/>
              <a:gd name="connsiteX95" fmla="*/ 249756 w 545883"/>
              <a:gd name="connsiteY95" fmla="*/ 378803 h 538647"/>
              <a:gd name="connsiteX96" fmla="*/ 249756 w 545883"/>
              <a:gd name="connsiteY96" fmla="*/ 404893 h 538647"/>
              <a:gd name="connsiteX97" fmla="*/ 228146 w 545883"/>
              <a:gd name="connsiteY97" fmla="*/ 426498 h 538647"/>
              <a:gd name="connsiteX98" fmla="*/ 182886 w 545883"/>
              <a:gd name="connsiteY98" fmla="*/ 426498 h 538647"/>
              <a:gd name="connsiteX99" fmla="*/ 161683 w 545883"/>
              <a:gd name="connsiteY99" fmla="*/ 404893 h 538647"/>
              <a:gd name="connsiteX100" fmla="*/ 161683 w 545883"/>
              <a:gd name="connsiteY100" fmla="*/ 397147 h 538647"/>
              <a:gd name="connsiteX101" fmla="*/ 161683 w 545883"/>
              <a:gd name="connsiteY101" fmla="*/ 371058 h 538647"/>
              <a:gd name="connsiteX102" fmla="*/ 161683 w 545883"/>
              <a:gd name="connsiteY102" fmla="*/ 361274 h 538647"/>
              <a:gd name="connsiteX103" fmla="*/ 182886 w 545883"/>
              <a:gd name="connsiteY103" fmla="*/ 340077 h 538647"/>
              <a:gd name="connsiteX104" fmla="*/ 64752 w 545883"/>
              <a:gd name="connsiteY104" fmla="*/ 340077 h 538647"/>
              <a:gd name="connsiteX105" fmla="*/ 110301 w 545883"/>
              <a:gd name="connsiteY105" fmla="*/ 340077 h 538647"/>
              <a:gd name="connsiteX106" fmla="*/ 131640 w 545883"/>
              <a:gd name="connsiteY106" fmla="*/ 361274 h 538647"/>
              <a:gd name="connsiteX107" fmla="*/ 131640 w 545883"/>
              <a:gd name="connsiteY107" fmla="*/ 404893 h 538647"/>
              <a:gd name="connsiteX108" fmla="*/ 110301 w 545883"/>
              <a:gd name="connsiteY108" fmla="*/ 426498 h 538647"/>
              <a:gd name="connsiteX109" fmla="*/ 64752 w 545883"/>
              <a:gd name="connsiteY109" fmla="*/ 426498 h 538647"/>
              <a:gd name="connsiteX110" fmla="*/ 43414 w 545883"/>
              <a:gd name="connsiteY110" fmla="*/ 404893 h 538647"/>
              <a:gd name="connsiteX111" fmla="*/ 43414 w 545883"/>
              <a:gd name="connsiteY111" fmla="*/ 361274 h 538647"/>
              <a:gd name="connsiteX112" fmla="*/ 64752 w 545883"/>
              <a:gd name="connsiteY112" fmla="*/ 340077 h 538647"/>
              <a:gd name="connsiteX113" fmla="*/ 443540 w 545883"/>
              <a:gd name="connsiteY113" fmla="*/ 332841 h 538647"/>
              <a:gd name="connsiteX114" fmla="*/ 545883 w 545883"/>
              <a:gd name="connsiteY114" fmla="*/ 435539 h 538647"/>
              <a:gd name="connsiteX115" fmla="*/ 443540 w 545883"/>
              <a:gd name="connsiteY115" fmla="*/ 538647 h 538647"/>
              <a:gd name="connsiteX116" fmla="*/ 341198 w 545883"/>
              <a:gd name="connsiteY116" fmla="*/ 442933 h 538647"/>
              <a:gd name="connsiteX117" fmla="*/ 347748 w 545883"/>
              <a:gd name="connsiteY117" fmla="*/ 435128 h 538647"/>
              <a:gd name="connsiteX118" fmla="*/ 355526 w 545883"/>
              <a:gd name="connsiteY118" fmla="*/ 442112 h 538647"/>
              <a:gd name="connsiteX119" fmla="*/ 443540 w 545883"/>
              <a:gd name="connsiteY119" fmla="*/ 524270 h 538647"/>
              <a:gd name="connsiteX120" fmla="*/ 531145 w 545883"/>
              <a:gd name="connsiteY120" fmla="*/ 435539 h 538647"/>
              <a:gd name="connsiteX121" fmla="*/ 443540 w 545883"/>
              <a:gd name="connsiteY121" fmla="*/ 347218 h 538647"/>
              <a:gd name="connsiteX122" fmla="*/ 366988 w 545883"/>
              <a:gd name="connsiteY122" fmla="*/ 390762 h 538647"/>
              <a:gd name="connsiteX123" fmla="*/ 373947 w 545883"/>
              <a:gd name="connsiteY123" fmla="*/ 386654 h 538647"/>
              <a:gd name="connsiteX124" fmla="*/ 383363 w 545883"/>
              <a:gd name="connsiteY124" fmla="*/ 388708 h 538647"/>
              <a:gd name="connsiteX125" fmla="*/ 381316 w 545883"/>
              <a:gd name="connsiteY125" fmla="*/ 398568 h 538647"/>
              <a:gd name="connsiteX126" fmla="*/ 355116 w 545883"/>
              <a:gd name="connsiteY126" fmla="*/ 414999 h 538647"/>
              <a:gd name="connsiteX127" fmla="*/ 351432 w 545883"/>
              <a:gd name="connsiteY127" fmla="*/ 416232 h 538647"/>
              <a:gd name="connsiteX128" fmla="*/ 348976 w 545883"/>
              <a:gd name="connsiteY128" fmla="*/ 415821 h 538647"/>
              <a:gd name="connsiteX129" fmla="*/ 344882 w 545883"/>
              <a:gd name="connsiteY129" fmla="*/ 411302 h 538647"/>
              <a:gd name="connsiteX130" fmla="*/ 335467 w 545883"/>
              <a:gd name="connsiteY130" fmla="*/ 382546 h 538647"/>
              <a:gd name="connsiteX131" fmla="*/ 340379 w 545883"/>
              <a:gd name="connsiteY131" fmla="*/ 373509 h 538647"/>
              <a:gd name="connsiteX132" fmla="*/ 349385 w 545883"/>
              <a:gd name="connsiteY132" fmla="*/ 378028 h 538647"/>
              <a:gd name="connsiteX133" fmla="*/ 352251 w 545883"/>
              <a:gd name="connsiteY133" fmla="*/ 388298 h 538647"/>
              <a:gd name="connsiteX134" fmla="*/ 443540 w 545883"/>
              <a:gd name="connsiteY134" fmla="*/ 332841 h 538647"/>
              <a:gd name="connsiteX135" fmla="*/ 117905 w 545883"/>
              <a:gd name="connsiteY135" fmla="*/ 289960 h 538647"/>
              <a:gd name="connsiteX136" fmla="*/ 99148 w 545883"/>
              <a:gd name="connsiteY136" fmla="*/ 309120 h 538647"/>
              <a:gd name="connsiteX137" fmla="*/ 110973 w 545883"/>
              <a:gd name="connsiteY137" fmla="*/ 309120 h 538647"/>
              <a:gd name="connsiteX138" fmla="*/ 117905 w 545883"/>
              <a:gd name="connsiteY138" fmla="*/ 302190 h 538647"/>
              <a:gd name="connsiteX139" fmla="*/ 115458 w 545883"/>
              <a:gd name="connsiteY139" fmla="*/ 255718 h 538647"/>
              <a:gd name="connsiteX140" fmla="*/ 114235 w 545883"/>
              <a:gd name="connsiteY140" fmla="*/ 256126 h 538647"/>
              <a:gd name="connsiteX141" fmla="*/ 113420 w 545883"/>
              <a:gd name="connsiteY141" fmla="*/ 256126 h 538647"/>
              <a:gd name="connsiteX142" fmla="*/ 111381 w 545883"/>
              <a:gd name="connsiteY142" fmla="*/ 257349 h 538647"/>
              <a:gd name="connsiteX143" fmla="*/ 110973 w 545883"/>
              <a:gd name="connsiteY143" fmla="*/ 257757 h 538647"/>
              <a:gd name="connsiteX144" fmla="*/ 87324 w 545883"/>
              <a:gd name="connsiteY144" fmla="*/ 281808 h 538647"/>
              <a:gd name="connsiteX145" fmla="*/ 71014 w 545883"/>
              <a:gd name="connsiteY145" fmla="*/ 281808 h 538647"/>
              <a:gd name="connsiteX146" fmla="*/ 65305 w 545883"/>
              <a:gd name="connsiteY146" fmla="*/ 276508 h 538647"/>
              <a:gd name="connsiteX147" fmla="*/ 63266 w 545883"/>
              <a:gd name="connsiteY147" fmla="*/ 274878 h 538647"/>
              <a:gd name="connsiteX148" fmla="*/ 61228 w 545883"/>
              <a:gd name="connsiteY148" fmla="*/ 274470 h 538647"/>
              <a:gd name="connsiteX149" fmla="*/ 60820 w 545883"/>
              <a:gd name="connsiteY149" fmla="*/ 274470 h 538647"/>
              <a:gd name="connsiteX150" fmla="*/ 58373 w 545883"/>
              <a:gd name="connsiteY150" fmla="*/ 274878 h 538647"/>
              <a:gd name="connsiteX151" fmla="*/ 56335 w 545883"/>
              <a:gd name="connsiteY151" fmla="*/ 276100 h 538647"/>
              <a:gd name="connsiteX152" fmla="*/ 55927 w 545883"/>
              <a:gd name="connsiteY152" fmla="*/ 276100 h 538647"/>
              <a:gd name="connsiteX153" fmla="*/ 55519 w 545883"/>
              <a:gd name="connsiteY153" fmla="*/ 276508 h 538647"/>
              <a:gd name="connsiteX154" fmla="*/ 55519 w 545883"/>
              <a:gd name="connsiteY154" fmla="*/ 285884 h 538647"/>
              <a:gd name="connsiteX155" fmla="*/ 58373 w 545883"/>
              <a:gd name="connsiteY155" fmla="*/ 288737 h 538647"/>
              <a:gd name="connsiteX156" fmla="*/ 71421 w 545883"/>
              <a:gd name="connsiteY156" fmla="*/ 301374 h 538647"/>
              <a:gd name="connsiteX157" fmla="*/ 75499 w 545883"/>
              <a:gd name="connsiteY157" fmla="*/ 303820 h 538647"/>
              <a:gd name="connsiteX158" fmla="*/ 86508 w 545883"/>
              <a:gd name="connsiteY158" fmla="*/ 301374 h 538647"/>
              <a:gd name="connsiteX159" fmla="*/ 104449 w 545883"/>
              <a:gd name="connsiteY159" fmla="*/ 283438 h 538647"/>
              <a:gd name="connsiteX160" fmla="*/ 120759 w 545883"/>
              <a:gd name="connsiteY160" fmla="*/ 267132 h 538647"/>
              <a:gd name="connsiteX161" fmla="*/ 122798 w 545883"/>
              <a:gd name="connsiteY161" fmla="*/ 262241 h 538647"/>
              <a:gd name="connsiteX162" fmla="*/ 120759 w 545883"/>
              <a:gd name="connsiteY162" fmla="*/ 257757 h 538647"/>
              <a:gd name="connsiteX163" fmla="*/ 119128 w 545883"/>
              <a:gd name="connsiteY163" fmla="*/ 256534 h 538647"/>
              <a:gd name="connsiteX164" fmla="*/ 117905 w 545883"/>
              <a:gd name="connsiteY164" fmla="*/ 256126 h 538647"/>
              <a:gd name="connsiteX165" fmla="*/ 116682 w 545883"/>
              <a:gd name="connsiteY165" fmla="*/ 256126 h 538647"/>
              <a:gd name="connsiteX166" fmla="*/ 115458 w 545883"/>
              <a:gd name="connsiteY166" fmla="*/ 255718 h 538647"/>
              <a:gd name="connsiteX167" fmla="*/ 301819 w 545883"/>
              <a:gd name="connsiteY167" fmla="*/ 251642 h 538647"/>
              <a:gd name="connsiteX168" fmla="*/ 294398 w 545883"/>
              <a:gd name="connsiteY168" fmla="*/ 258572 h 538647"/>
              <a:gd name="connsiteX169" fmla="*/ 294398 w 545883"/>
              <a:gd name="connsiteY169" fmla="*/ 302190 h 538647"/>
              <a:gd name="connsiteX170" fmla="*/ 301819 w 545883"/>
              <a:gd name="connsiteY170" fmla="*/ 309120 h 538647"/>
              <a:gd name="connsiteX171" fmla="*/ 347581 w 545883"/>
              <a:gd name="connsiteY171" fmla="*/ 309120 h 538647"/>
              <a:gd name="connsiteX172" fmla="*/ 354589 w 545883"/>
              <a:gd name="connsiteY172" fmla="*/ 302190 h 538647"/>
              <a:gd name="connsiteX173" fmla="*/ 354589 w 545883"/>
              <a:gd name="connsiteY173" fmla="*/ 258572 h 538647"/>
              <a:gd name="connsiteX174" fmla="*/ 347581 w 545883"/>
              <a:gd name="connsiteY174" fmla="*/ 251642 h 538647"/>
              <a:gd name="connsiteX175" fmla="*/ 184043 w 545883"/>
              <a:gd name="connsiteY175" fmla="*/ 251642 h 538647"/>
              <a:gd name="connsiteX176" fmla="*/ 177099 w 545883"/>
              <a:gd name="connsiteY176" fmla="*/ 258572 h 538647"/>
              <a:gd name="connsiteX177" fmla="*/ 177099 w 545883"/>
              <a:gd name="connsiteY177" fmla="*/ 302190 h 538647"/>
              <a:gd name="connsiteX178" fmla="*/ 184043 w 545883"/>
              <a:gd name="connsiteY178" fmla="*/ 309120 h 538647"/>
              <a:gd name="connsiteX179" fmla="*/ 229382 w 545883"/>
              <a:gd name="connsiteY179" fmla="*/ 309120 h 538647"/>
              <a:gd name="connsiteX180" fmla="*/ 236734 w 545883"/>
              <a:gd name="connsiteY180" fmla="*/ 302190 h 538647"/>
              <a:gd name="connsiteX181" fmla="*/ 236734 w 545883"/>
              <a:gd name="connsiteY181" fmla="*/ 258572 h 538647"/>
              <a:gd name="connsiteX182" fmla="*/ 229382 w 545883"/>
              <a:gd name="connsiteY182" fmla="*/ 251642 h 538647"/>
              <a:gd name="connsiteX183" fmla="*/ 65713 w 545883"/>
              <a:gd name="connsiteY183" fmla="*/ 251642 h 538647"/>
              <a:gd name="connsiteX184" fmla="*/ 58781 w 545883"/>
              <a:gd name="connsiteY184" fmla="*/ 258572 h 538647"/>
              <a:gd name="connsiteX185" fmla="*/ 58781 w 545883"/>
              <a:gd name="connsiteY185" fmla="*/ 260202 h 538647"/>
              <a:gd name="connsiteX186" fmla="*/ 62451 w 545883"/>
              <a:gd name="connsiteY186" fmla="*/ 260202 h 538647"/>
              <a:gd name="connsiteX187" fmla="*/ 63266 w 545883"/>
              <a:gd name="connsiteY187" fmla="*/ 260610 h 538647"/>
              <a:gd name="connsiteX188" fmla="*/ 66528 w 545883"/>
              <a:gd name="connsiteY188" fmla="*/ 261018 h 538647"/>
              <a:gd name="connsiteX189" fmla="*/ 67752 w 545883"/>
              <a:gd name="connsiteY189" fmla="*/ 261425 h 538647"/>
              <a:gd name="connsiteX190" fmla="*/ 70606 w 545883"/>
              <a:gd name="connsiteY190" fmla="*/ 263056 h 538647"/>
              <a:gd name="connsiteX191" fmla="*/ 71421 w 545883"/>
              <a:gd name="connsiteY191" fmla="*/ 263464 h 538647"/>
              <a:gd name="connsiteX192" fmla="*/ 75091 w 545883"/>
              <a:gd name="connsiteY192" fmla="*/ 266317 h 538647"/>
              <a:gd name="connsiteX193" fmla="*/ 79169 w 545883"/>
              <a:gd name="connsiteY193" fmla="*/ 270393 h 538647"/>
              <a:gd name="connsiteX194" fmla="*/ 97517 w 545883"/>
              <a:gd name="connsiteY194" fmla="*/ 251642 h 538647"/>
              <a:gd name="connsiteX195" fmla="*/ 301819 w 545883"/>
              <a:gd name="connsiteY195" fmla="*/ 236967 h 538647"/>
              <a:gd name="connsiteX196" fmla="*/ 347581 w 545883"/>
              <a:gd name="connsiteY196" fmla="*/ 236967 h 538647"/>
              <a:gd name="connsiteX197" fmla="*/ 368607 w 545883"/>
              <a:gd name="connsiteY197" fmla="*/ 258572 h 538647"/>
              <a:gd name="connsiteX198" fmla="*/ 368607 w 545883"/>
              <a:gd name="connsiteY198" fmla="*/ 302190 h 538647"/>
              <a:gd name="connsiteX199" fmla="*/ 347581 w 545883"/>
              <a:gd name="connsiteY199" fmla="*/ 323387 h 538647"/>
              <a:gd name="connsiteX200" fmla="*/ 301819 w 545883"/>
              <a:gd name="connsiteY200" fmla="*/ 323387 h 538647"/>
              <a:gd name="connsiteX201" fmla="*/ 280381 w 545883"/>
              <a:gd name="connsiteY201" fmla="*/ 302190 h 538647"/>
              <a:gd name="connsiteX202" fmla="*/ 280381 w 545883"/>
              <a:gd name="connsiteY202" fmla="*/ 258572 h 538647"/>
              <a:gd name="connsiteX203" fmla="*/ 301819 w 545883"/>
              <a:gd name="connsiteY203" fmla="*/ 236967 h 538647"/>
              <a:gd name="connsiteX204" fmla="*/ 184043 w 545883"/>
              <a:gd name="connsiteY204" fmla="*/ 236967 h 538647"/>
              <a:gd name="connsiteX205" fmla="*/ 229382 w 545883"/>
              <a:gd name="connsiteY205" fmla="*/ 236967 h 538647"/>
              <a:gd name="connsiteX206" fmla="*/ 251030 w 545883"/>
              <a:gd name="connsiteY206" fmla="*/ 258572 h 538647"/>
              <a:gd name="connsiteX207" fmla="*/ 251030 w 545883"/>
              <a:gd name="connsiteY207" fmla="*/ 302190 h 538647"/>
              <a:gd name="connsiteX208" fmla="*/ 229382 w 545883"/>
              <a:gd name="connsiteY208" fmla="*/ 323387 h 538647"/>
              <a:gd name="connsiteX209" fmla="*/ 184043 w 545883"/>
              <a:gd name="connsiteY209" fmla="*/ 323387 h 538647"/>
              <a:gd name="connsiteX210" fmla="*/ 162803 w 545883"/>
              <a:gd name="connsiteY210" fmla="*/ 302190 h 538647"/>
              <a:gd name="connsiteX211" fmla="*/ 162803 w 545883"/>
              <a:gd name="connsiteY211" fmla="*/ 258572 h 538647"/>
              <a:gd name="connsiteX212" fmla="*/ 184043 w 545883"/>
              <a:gd name="connsiteY212" fmla="*/ 236967 h 538647"/>
              <a:gd name="connsiteX213" fmla="*/ 65713 w 545883"/>
              <a:gd name="connsiteY213" fmla="*/ 236967 h 538647"/>
              <a:gd name="connsiteX214" fmla="*/ 110973 w 545883"/>
              <a:gd name="connsiteY214" fmla="*/ 236967 h 538647"/>
              <a:gd name="connsiteX215" fmla="*/ 127283 w 545883"/>
              <a:gd name="connsiteY215" fmla="*/ 244712 h 538647"/>
              <a:gd name="connsiteX216" fmla="*/ 130953 w 545883"/>
              <a:gd name="connsiteY216" fmla="*/ 247565 h 538647"/>
              <a:gd name="connsiteX217" fmla="*/ 137069 w 545883"/>
              <a:gd name="connsiteY217" fmla="*/ 262241 h 538647"/>
              <a:gd name="connsiteX218" fmla="*/ 132176 w 545883"/>
              <a:gd name="connsiteY218" fmla="*/ 275693 h 538647"/>
              <a:gd name="connsiteX219" fmla="*/ 132176 w 545883"/>
              <a:gd name="connsiteY219" fmla="*/ 302190 h 538647"/>
              <a:gd name="connsiteX220" fmla="*/ 110973 w 545883"/>
              <a:gd name="connsiteY220" fmla="*/ 323387 h 538647"/>
              <a:gd name="connsiteX221" fmla="*/ 65713 w 545883"/>
              <a:gd name="connsiteY221" fmla="*/ 323387 h 538647"/>
              <a:gd name="connsiteX222" fmla="*/ 44510 w 545883"/>
              <a:gd name="connsiteY222" fmla="*/ 302190 h 538647"/>
              <a:gd name="connsiteX223" fmla="*/ 44510 w 545883"/>
              <a:gd name="connsiteY223" fmla="*/ 294444 h 538647"/>
              <a:gd name="connsiteX224" fmla="*/ 44510 w 545883"/>
              <a:gd name="connsiteY224" fmla="*/ 267948 h 538647"/>
              <a:gd name="connsiteX225" fmla="*/ 44510 w 545883"/>
              <a:gd name="connsiteY225" fmla="*/ 258572 h 538647"/>
              <a:gd name="connsiteX226" fmla="*/ 65713 w 545883"/>
              <a:gd name="connsiteY226" fmla="*/ 236967 h 538647"/>
              <a:gd name="connsiteX227" fmla="*/ 301819 w 545883"/>
              <a:gd name="connsiteY227" fmla="*/ 147785 h 538647"/>
              <a:gd name="connsiteX228" fmla="*/ 294398 w 545883"/>
              <a:gd name="connsiteY228" fmla="*/ 155157 h 538647"/>
              <a:gd name="connsiteX229" fmla="*/ 294398 w 545883"/>
              <a:gd name="connsiteY229" fmla="*/ 198981 h 538647"/>
              <a:gd name="connsiteX230" fmla="*/ 301819 w 545883"/>
              <a:gd name="connsiteY230" fmla="*/ 205943 h 538647"/>
              <a:gd name="connsiteX231" fmla="*/ 347581 w 545883"/>
              <a:gd name="connsiteY231" fmla="*/ 205943 h 538647"/>
              <a:gd name="connsiteX232" fmla="*/ 354589 w 545883"/>
              <a:gd name="connsiteY232" fmla="*/ 198981 h 538647"/>
              <a:gd name="connsiteX233" fmla="*/ 354589 w 545883"/>
              <a:gd name="connsiteY233" fmla="*/ 155157 h 538647"/>
              <a:gd name="connsiteX234" fmla="*/ 347581 w 545883"/>
              <a:gd name="connsiteY234" fmla="*/ 147785 h 538647"/>
              <a:gd name="connsiteX235" fmla="*/ 184043 w 545883"/>
              <a:gd name="connsiteY235" fmla="*/ 147785 h 538647"/>
              <a:gd name="connsiteX236" fmla="*/ 177099 w 545883"/>
              <a:gd name="connsiteY236" fmla="*/ 155157 h 538647"/>
              <a:gd name="connsiteX237" fmla="*/ 177099 w 545883"/>
              <a:gd name="connsiteY237" fmla="*/ 198981 h 538647"/>
              <a:gd name="connsiteX238" fmla="*/ 184043 w 545883"/>
              <a:gd name="connsiteY238" fmla="*/ 205943 h 538647"/>
              <a:gd name="connsiteX239" fmla="*/ 229382 w 545883"/>
              <a:gd name="connsiteY239" fmla="*/ 205943 h 538647"/>
              <a:gd name="connsiteX240" fmla="*/ 236734 w 545883"/>
              <a:gd name="connsiteY240" fmla="*/ 198981 h 538647"/>
              <a:gd name="connsiteX241" fmla="*/ 236734 w 545883"/>
              <a:gd name="connsiteY241" fmla="*/ 155157 h 538647"/>
              <a:gd name="connsiteX242" fmla="*/ 229382 w 545883"/>
              <a:gd name="connsiteY242" fmla="*/ 147785 h 538647"/>
              <a:gd name="connsiteX243" fmla="*/ 64752 w 545883"/>
              <a:gd name="connsiteY243" fmla="*/ 147785 h 538647"/>
              <a:gd name="connsiteX244" fmla="*/ 57776 w 545883"/>
              <a:gd name="connsiteY244" fmla="*/ 155157 h 538647"/>
              <a:gd name="connsiteX245" fmla="*/ 57776 w 545883"/>
              <a:gd name="connsiteY245" fmla="*/ 198981 h 538647"/>
              <a:gd name="connsiteX246" fmla="*/ 64752 w 545883"/>
              <a:gd name="connsiteY246" fmla="*/ 205943 h 538647"/>
              <a:gd name="connsiteX247" fmla="*/ 110301 w 545883"/>
              <a:gd name="connsiteY247" fmla="*/ 205943 h 538647"/>
              <a:gd name="connsiteX248" fmla="*/ 117277 w 545883"/>
              <a:gd name="connsiteY248" fmla="*/ 198981 h 538647"/>
              <a:gd name="connsiteX249" fmla="*/ 117277 w 545883"/>
              <a:gd name="connsiteY249" fmla="*/ 155157 h 538647"/>
              <a:gd name="connsiteX250" fmla="*/ 110301 w 545883"/>
              <a:gd name="connsiteY250" fmla="*/ 147785 h 538647"/>
              <a:gd name="connsiteX251" fmla="*/ 301819 w 545883"/>
              <a:gd name="connsiteY251" fmla="*/ 133860 h 538647"/>
              <a:gd name="connsiteX252" fmla="*/ 347581 w 545883"/>
              <a:gd name="connsiteY252" fmla="*/ 133860 h 538647"/>
              <a:gd name="connsiteX253" fmla="*/ 368607 w 545883"/>
              <a:gd name="connsiteY253" fmla="*/ 155157 h 538647"/>
              <a:gd name="connsiteX254" fmla="*/ 368607 w 545883"/>
              <a:gd name="connsiteY254" fmla="*/ 198981 h 538647"/>
              <a:gd name="connsiteX255" fmla="*/ 347581 w 545883"/>
              <a:gd name="connsiteY255" fmla="*/ 220278 h 538647"/>
              <a:gd name="connsiteX256" fmla="*/ 301819 w 545883"/>
              <a:gd name="connsiteY256" fmla="*/ 220278 h 538647"/>
              <a:gd name="connsiteX257" fmla="*/ 280381 w 545883"/>
              <a:gd name="connsiteY257" fmla="*/ 198981 h 538647"/>
              <a:gd name="connsiteX258" fmla="*/ 280381 w 545883"/>
              <a:gd name="connsiteY258" fmla="*/ 155157 h 538647"/>
              <a:gd name="connsiteX259" fmla="*/ 301819 w 545883"/>
              <a:gd name="connsiteY259" fmla="*/ 133860 h 538647"/>
              <a:gd name="connsiteX260" fmla="*/ 184043 w 545883"/>
              <a:gd name="connsiteY260" fmla="*/ 133860 h 538647"/>
              <a:gd name="connsiteX261" fmla="*/ 229382 w 545883"/>
              <a:gd name="connsiteY261" fmla="*/ 133860 h 538647"/>
              <a:gd name="connsiteX262" fmla="*/ 251030 w 545883"/>
              <a:gd name="connsiteY262" fmla="*/ 155157 h 538647"/>
              <a:gd name="connsiteX263" fmla="*/ 251030 w 545883"/>
              <a:gd name="connsiteY263" fmla="*/ 198981 h 538647"/>
              <a:gd name="connsiteX264" fmla="*/ 229382 w 545883"/>
              <a:gd name="connsiteY264" fmla="*/ 220278 h 538647"/>
              <a:gd name="connsiteX265" fmla="*/ 184043 w 545883"/>
              <a:gd name="connsiteY265" fmla="*/ 220278 h 538647"/>
              <a:gd name="connsiteX266" fmla="*/ 162803 w 545883"/>
              <a:gd name="connsiteY266" fmla="*/ 198981 h 538647"/>
              <a:gd name="connsiteX267" fmla="*/ 162803 w 545883"/>
              <a:gd name="connsiteY267" fmla="*/ 155157 h 538647"/>
              <a:gd name="connsiteX268" fmla="*/ 184043 w 545883"/>
              <a:gd name="connsiteY268" fmla="*/ 133860 h 538647"/>
              <a:gd name="connsiteX269" fmla="*/ 64752 w 545883"/>
              <a:gd name="connsiteY269" fmla="*/ 133860 h 538647"/>
              <a:gd name="connsiteX270" fmla="*/ 110301 w 545883"/>
              <a:gd name="connsiteY270" fmla="*/ 133860 h 538647"/>
              <a:gd name="connsiteX271" fmla="*/ 131640 w 545883"/>
              <a:gd name="connsiteY271" fmla="*/ 155157 h 538647"/>
              <a:gd name="connsiteX272" fmla="*/ 131640 w 545883"/>
              <a:gd name="connsiteY272" fmla="*/ 198981 h 538647"/>
              <a:gd name="connsiteX273" fmla="*/ 110301 w 545883"/>
              <a:gd name="connsiteY273" fmla="*/ 220278 h 538647"/>
              <a:gd name="connsiteX274" fmla="*/ 64752 w 545883"/>
              <a:gd name="connsiteY274" fmla="*/ 220278 h 538647"/>
              <a:gd name="connsiteX275" fmla="*/ 43414 w 545883"/>
              <a:gd name="connsiteY275" fmla="*/ 198981 h 538647"/>
              <a:gd name="connsiteX276" fmla="*/ 43414 w 545883"/>
              <a:gd name="connsiteY276" fmla="*/ 155157 h 538647"/>
              <a:gd name="connsiteX277" fmla="*/ 64752 w 545883"/>
              <a:gd name="connsiteY277" fmla="*/ 133860 h 538647"/>
              <a:gd name="connsiteX278" fmla="*/ 32811 w 545883"/>
              <a:gd name="connsiteY278" fmla="*/ 43934 h 538647"/>
              <a:gd name="connsiteX279" fmla="*/ 14355 w 545883"/>
              <a:gd name="connsiteY279" fmla="*/ 62001 h 538647"/>
              <a:gd name="connsiteX280" fmla="*/ 14355 w 545883"/>
              <a:gd name="connsiteY280" fmla="*/ 103472 h 538647"/>
              <a:gd name="connsiteX281" fmla="*/ 399887 w 545883"/>
              <a:gd name="connsiteY281" fmla="*/ 103472 h 538647"/>
              <a:gd name="connsiteX282" fmla="*/ 399887 w 545883"/>
              <a:gd name="connsiteY282" fmla="*/ 62001 h 538647"/>
              <a:gd name="connsiteX283" fmla="*/ 381431 w 545883"/>
              <a:gd name="connsiteY283" fmla="*/ 43934 h 538647"/>
              <a:gd name="connsiteX284" fmla="*/ 353951 w 545883"/>
              <a:gd name="connsiteY284" fmla="*/ 43934 h 538647"/>
              <a:gd name="connsiteX285" fmla="*/ 353951 w 545883"/>
              <a:gd name="connsiteY285" fmla="*/ 52557 h 538647"/>
              <a:gd name="connsiteX286" fmla="*/ 333034 w 545883"/>
              <a:gd name="connsiteY286" fmla="*/ 73498 h 538647"/>
              <a:gd name="connsiteX287" fmla="*/ 312117 w 545883"/>
              <a:gd name="connsiteY287" fmla="*/ 52557 h 538647"/>
              <a:gd name="connsiteX288" fmla="*/ 312117 w 545883"/>
              <a:gd name="connsiteY288" fmla="*/ 43934 h 538647"/>
              <a:gd name="connsiteX289" fmla="*/ 102125 w 545883"/>
              <a:gd name="connsiteY289" fmla="*/ 43934 h 538647"/>
              <a:gd name="connsiteX290" fmla="*/ 102125 w 545883"/>
              <a:gd name="connsiteY290" fmla="*/ 52557 h 538647"/>
              <a:gd name="connsiteX291" fmla="*/ 81208 w 545883"/>
              <a:gd name="connsiteY291" fmla="*/ 73498 h 538647"/>
              <a:gd name="connsiteX292" fmla="*/ 60291 w 545883"/>
              <a:gd name="connsiteY292" fmla="*/ 52557 h 538647"/>
              <a:gd name="connsiteX293" fmla="*/ 60291 w 545883"/>
              <a:gd name="connsiteY293" fmla="*/ 43934 h 538647"/>
              <a:gd name="connsiteX294" fmla="*/ 333034 w 545883"/>
              <a:gd name="connsiteY294" fmla="*/ 13960 h 538647"/>
              <a:gd name="connsiteX295" fmla="*/ 326472 w 545883"/>
              <a:gd name="connsiteY295" fmla="*/ 20941 h 538647"/>
              <a:gd name="connsiteX296" fmla="*/ 326472 w 545883"/>
              <a:gd name="connsiteY296" fmla="*/ 52557 h 538647"/>
              <a:gd name="connsiteX297" fmla="*/ 333034 w 545883"/>
              <a:gd name="connsiteY297" fmla="*/ 59127 h 538647"/>
              <a:gd name="connsiteX298" fmla="*/ 339596 w 545883"/>
              <a:gd name="connsiteY298" fmla="*/ 52557 h 538647"/>
              <a:gd name="connsiteX299" fmla="*/ 339596 w 545883"/>
              <a:gd name="connsiteY299" fmla="*/ 20941 h 538647"/>
              <a:gd name="connsiteX300" fmla="*/ 333034 w 545883"/>
              <a:gd name="connsiteY300" fmla="*/ 13960 h 538647"/>
              <a:gd name="connsiteX301" fmla="*/ 81208 w 545883"/>
              <a:gd name="connsiteY301" fmla="*/ 13960 h 538647"/>
              <a:gd name="connsiteX302" fmla="*/ 74646 w 545883"/>
              <a:gd name="connsiteY302" fmla="*/ 20941 h 538647"/>
              <a:gd name="connsiteX303" fmla="*/ 74646 w 545883"/>
              <a:gd name="connsiteY303" fmla="*/ 52557 h 538647"/>
              <a:gd name="connsiteX304" fmla="*/ 81208 w 545883"/>
              <a:gd name="connsiteY304" fmla="*/ 59127 h 538647"/>
              <a:gd name="connsiteX305" fmla="*/ 88180 w 545883"/>
              <a:gd name="connsiteY305" fmla="*/ 52557 h 538647"/>
              <a:gd name="connsiteX306" fmla="*/ 88180 w 545883"/>
              <a:gd name="connsiteY306" fmla="*/ 20941 h 538647"/>
              <a:gd name="connsiteX307" fmla="*/ 81208 w 545883"/>
              <a:gd name="connsiteY307" fmla="*/ 13960 h 538647"/>
              <a:gd name="connsiteX308" fmla="*/ 81208 w 545883"/>
              <a:gd name="connsiteY308" fmla="*/ 0 h 538647"/>
              <a:gd name="connsiteX309" fmla="*/ 102125 w 545883"/>
              <a:gd name="connsiteY309" fmla="*/ 20941 h 538647"/>
              <a:gd name="connsiteX310" fmla="*/ 102125 w 545883"/>
              <a:gd name="connsiteY310" fmla="*/ 29153 h 538647"/>
              <a:gd name="connsiteX311" fmla="*/ 312117 w 545883"/>
              <a:gd name="connsiteY311" fmla="*/ 29153 h 538647"/>
              <a:gd name="connsiteX312" fmla="*/ 312117 w 545883"/>
              <a:gd name="connsiteY312" fmla="*/ 20941 h 538647"/>
              <a:gd name="connsiteX313" fmla="*/ 333034 w 545883"/>
              <a:gd name="connsiteY313" fmla="*/ 0 h 538647"/>
              <a:gd name="connsiteX314" fmla="*/ 353951 w 545883"/>
              <a:gd name="connsiteY314" fmla="*/ 20941 h 538647"/>
              <a:gd name="connsiteX315" fmla="*/ 353951 w 545883"/>
              <a:gd name="connsiteY315" fmla="*/ 29153 h 538647"/>
              <a:gd name="connsiteX316" fmla="*/ 381431 w 545883"/>
              <a:gd name="connsiteY316" fmla="*/ 29153 h 538647"/>
              <a:gd name="connsiteX317" fmla="*/ 413832 w 545883"/>
              <a:gd name="connsiteY317" fmla="*/ 62001 h 538647"/>
              <a:gd name="connsiteX318" fmla="*/ 413832 w 545883"/>
              <a:gd name="connsiteY318" fmla="*/ 322734 h 538647"/>
              <a:gd name="connsiteX319" fmla="*/ 406859 w 545883"/>
              <a:gd name="connsiteY319" fmla="*/ 330125 h 538647"/>
              <a:gd name="connsiteX320" fmla="*/ 399887 w 545883"/>
              <a:gd name="connsiteY320" fmla="*/ 322734 h 538647"/>
              <a:gd name="connsiteX321" fmla="*/ 399887 w 545883"/>
              <a:gd name="connsiteY321" fmla="*/ 118253 h 538647"/>
              <a:gd name="connsiteX322" fmla="*/ 14355 w 545883"/>
              <a:gd name="connsiteY322" fmla="*/ 118253 h 538647"/>
              <a:gd name="connsiteX323" fmla="*/ 14355 w 545883"/>
              <a:gd name="connsiteY323" fmla="*/ 426206 h 538647"/>
              <a:gd name="connsiteX324" fmla="*/ 32811 w 545883"/>
              <a:gd name="connsiteY324" fmla="*/ 444684 h 538647"/>
              <a:gd name="connsiteX325" fmla="*/ 319499 w 545883"/>
              <a:gd name="connsiteY325" fmla="*/ 444684 h 538647"/>
              <a:gd name="connsiteX326" fmla="*/ 326472 w 545883"/>
              <a:gd name="connsiteY326" fmla="*/ 451664 h 538647"/>
              <a:gd name="connsiteX327" fmla="*/ 319499 w 545883"/>
              <a:gd name="connsiteY327" fmla="*/ 459055 h 538647"/>
              <a:gd name="connsiteX328" fmla="*/ 32811 w 545883"/>
              <a:gd name="connsiteY328" fmla="*/ 459055 h 538647"/>
              <a:gd name="connsiteX329" fmla="*/ 0 w 545883"/>
              <a:gd name="connsiteY329" fmla="*/ 426206 h 538647"/>
              <a:gd name="connsiteX330" fmla="*/ 0 w 545883"/>
              <a:gd name="connsiteY330" fmla="*/ 62001 h 538647"/>
              <a:gd name="connsiteX331" fmla="*/ 32811 w 545883"/>
              <a:gd name="connsiteY331" fmla="*/ 29153 h 538647"/>
              <a:gd name="connsiteX332" fmla="*/ 60291 w 545883"/>
              <a:gd name="connsiteY332" fmla="*/ 29153 h 538647"/>
              <a:gd name="connsiteX333" fmla="*/ 60291 w 545883"/>
              <a:gd name="connsiteY333" fmla="*/ 20941 h 538647"/>
              <a:gd name="connsiteX334" fmla="*/ 81208 w 545883"/>
              <a:gd name="connsiteY334" fmla="*/ 0 h 53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</a:cxnLst>
            <a:rect l="l" t="t" r="r" b="b"/>
            <a:pathLst>
              <a:path w="545883" h="538647">
                <a:moveTo>
                  <a:pt x="235485" y="393071"/>
                </a:moveTo>
                <a:lnTo>
                  <a:pt x="216729" y="412230"/>
                </a:lnTo>
                <a:lnTo>
                  <a:pt x="228146" y="412230"/>
                </a:lnTo>
                <a:cubicBezTo>
                  <a:pt x="232223" y="412230"/>
                  <a:pt x="235485" y="408969"/>
                  <a:pt x="235485" y="404893"/>
                </a:cubicBezTo>
                <a:close/>
                <a:moveTo>
                  <a:pt x="442901" y="392534"/>
                </a:moveTo>
                <a:cubicBezTo>
                  <a:pt x="446581" y="392534"/>
                  <a:pt x="449853" y="395776"/>
                  <a:pt x="449853" y="399828"/>
                </a:cubicBezTo>
                <a:lnTo>
                  <a:pt x="449853" y="428597"/>
                </a:lnTo>
                <a:lnTo>
                  <a:pt x="475619" y="428597"/>
                </a:lnTo>
                <a:cubicBezTo>
                  <a:pt x="479708" y="428597"/>
                  <a:pt x="482571" y="431839"/>
                  <a:pt x="482571" y="435485"/>
                </a:cubicBezTo>
                <a:cubicBezTo>
                  <a:pt x="482571" y="439537"/>
                  <a:pt x="479708" y="442779"/>
                  <a:pt x="475619" y="442779"/>
                </a:cubicBezTo>
                <a:lnTo>
                  <a:pt x="442901" y="442779"/>
                </a:lnTo>
                <a:cubicBezTo>
                  <a:pt x="438811" y="442779"/>
                  <a:pt x="435948" y="439537"/>
                  <a:pt x="435948" y="435485"/>
                </a:cubicBezTo>
                <a:lnTo>
                  <a:pt x="435948" y="399828"/>
                </a:lnTo>
                <a:cubicBezTo>
                  <a:pt x="435948" y="395776"/>
                  <a:pt x="438811" y="392534"/>
                  <a:pt x="442901" y="392534"/>
                </a:cubicBezTo>
                <a:close/>
                <a:moveTo>
                  <a:pt x="444089" y="385180"/>
                </a:moveTo>
                <a:cubicBezTo>
                  <a:pt x="415382" y="385180"/>
                  <a:pt x="392416" y="408146"/>
                  <a:pt x="392416" y="436443"/>
                </a:cubicBezTo>
                <a:cubicBezTo>
                  <a:pt x="392416" y="465149"/>
                  <a:pt x="415382" y="488115"/>
                  <a:pt x="444089" y="488115"/>
                </a:cubicBezTo>
                <a:cubicBezTo>
                  <a:pt x="472385" y="488115"/>
                  <a:pt x="495351" y="465149"/>
                  <a:pt x="495351" y="436443"/>
                </a:cubicBezTo>
                <a:cubicBezTo>
                  <a:pt x="495351" y="408146"/>
                  <a:pt x="472385" y="385180"/>
                  <a:pt x="444089" y="385180"/>
                </a:cubicBezTo>
                <a:close/>
                <a:moveTo>
                  <a:pt x="444089" y="370827"/>
                </a:moveTo>
                <a:cubicBezTo>
                  <a:pt x="480177" y="370827"/>
                  <a:pt x="509704" y="400764"/>
                  <a:pt x="509704" y="436443"/>
                </a:cubicBezTo>
                <a:cubicBezTo>
                  <a:pt x="509704" y="472941"/>
                  <a:pt x="480177" y="502468"/>
                  <a:pt x="444089" y="502468"/>
                </a:cubicBezTo>
                <a:cubicBezTo>
                  <a:pt x="407590" y="502468"/>
                  <a:pt x="378063" y="472941"/>
                  <a:pt x="378063" y="436443"/>
                </a:cubicBezTo>
                <a:cubicBezTo>
                  <a:pt x="378063" y="400764"/>
                  <a:pt x="407590" y="370827"/>
                  <a:pt x="444089" y="370827"/>
                </a:cubicBezTo>
                <a:close/>
                <a:moveTo>
                  <a:pt x="231000" y="359236"/>
                </a:moveTo>
                <a:cubicBezTo>
                  <a:pt x="230184" y="359644"/>
                  <a:pt x="229369" y="360459"/>
                  <a:pt x="228961" y="360459"/>
                </a:cubicBezTo>
                <a:lnTo>
                  <a:pt x="204904" y="384918"/>
                </a:lnTo>
                <a:cubicBezTo>
                  <a:pt x="202458" y="386956"/>
                  <a:pt x="199603" y="388179"/>
                  <a:pt x="196749" y="388179"/>
                </a:cubicBezTo>
                <a:cubicBezTo>
                  <a:pt x="193487" y="388179"/>
                  <a:pt x="190633" y="386956"/>
                  <a:pt x="188594" y="384918"/>
                </a:cubicBezTo>
                <a:lnTo>
                  <a:pt x="182886" y="379210"/>
                </a:lnTo>
                <a:cubicBezTo>
                  <a:pt x="182070" y="378803"/>
                  <a:pt x="181663" y="378395"/>
                  <a:pt x="180439" y="377988"/>
                </a:cubicBezTo>
                <a:cubicBezTo>
                  <a:pt x="180032" y="377580"/>
                  <a:pt x="179624" y="377580"/>
                  <a:pt x="179216" y="377580"/>
                </a:cubicBezTo>
                <a:cubicBezTo>
                  <a:pt x="178808" y="377580"/>
                  <a:pt x="178401" y="377580"/>
                  <a:pt x="177993" y="377580"/>
                </a:cubicBezTo>
                <a:cubicBezTo>
                  <a:pt x="177585" y="377580"/>
                  <a:pt x="176770" y="377580"/>
                  <a:pt x="175954" y="377580"/>
                </a:cubicBezTo>
                <a:lnTo>
                  <a:pt x="175546" y="377580"/>
                </a:lnTo>
                <a:cubicBezTo>
                  <a:pt x="175139" y="377988"/>
                  <a:pt x="174731" y="378395"/>
                  <a:pt x="173916" y="378803"/>
                </a:cubicBezTo>
                <a:cubicBezTo>
                  <a:pt x="173508" y="378803"/>
                  <a:pt x="173508" y="378803"/>
                  <a:pt x="173508" y="379210"/>
                </a:cubicBezTo>
                <a:lnTo>
                  <a:pt x="173100" y="379618"/>
                </a:lnTo>
                <a:cubicBezTo>
                  <a:pt x="170654" y="382064"/>
                  <a:pt x="170654" y="386140"/>
                  <a:pt x="173508" y="388994"/>
                </a:cubicBezTo>
                <a:lnTo>
                  <a:pt x="189002" y="404485"/>
                </a:lnTo>
                <a:cubicBezTo>
                  <a:pt x="192264" y="407746"/>
                  <a:pt x="197565" y="408561"/>
                  <a:pt x="201234" y="406523"/>
                </a:cubicBezTo>
                <a:cubicBezTo>
                  <a:pt x="202458" y="406115"/>
                  <a:pt x="203681" y="405300"/>
                  <a:pt x="204496" y="404485"/>
                </a:cubicBezTo>
                <a:lnTo>
                  <a:pt x="230592" y="377580"/>
                </a:lnTo>
                <a:lnTo>
                  <a:pt x="238339" y="370242"/>
                </a:lnTo>
                <a:cubicBezTo>
                  <a:pt x="239563" y="369019"/>
                  <a:pt x="240378" y="367389"/>
                  <a:pt x="240378" y="365351"/>
                </a:cubicBezTo>
                <a:cubicBezTo>
                  <a:pt x="240378" y="363720"/>
                  <a:pt x="239563" y="362089"/>
                  <a:pt x="238339" y="360459"/>
                </a:cubicBezTo>
                <a:cubicBezTo>
                  <a:pt x="237524" y="360459"/>
                  <a:pt x="237116" y="359644"/>
                  <a:pt x="236301" y="359236"/>
                </a:cubicBezTo>
                <a:cubicBezTo>
                  <a:pt x="235893" y="359236"/>
                  <a:pt x="235893" y="359236"/>
                  <a:pt x="235485" y="359236"/>
                </a:cubicBezTo>
                <a:cubicBezTo>
                  <a:pt x="235077" y="359236"/>
                  <a:pt x="234262" y="359236"/>
                  <a:pt x="233854" y="359236"/>
                </a:cubicBezTo>
                <a:lnTo>
                  <a:pt x="233446" y="359236"/>
                </a:lnTo>
                <a:cubicBezTo>
                  <a:pt x="232631" y="359236"/>
                  <a:pt x="231815" y="359236"/>
                  <a:pt x="231408" y="359236"/>
                </a:cubicBezTo>
                <a:cubicBezTo>
                  <a:pt x="231000" y="359236"/>
                  <a:pt x="231000" y="359236"/>
                  <a:pt x="231000" y="359236"/>
                </a:cubicBezTo>
                <a:close/>
                <a:moveTo>
                  <a:pt x="182886" y="354344"/>
                </a:moveTo>
                <a:cubicBezTo>
                  <a:pt x="179216" y="354344"/>
                  <a:pt x="175954" y="357605"/>
                  <a:pt x="175954" y="361274"/>
                </a:cubicBezTo>
                <a:lnTo>
                  <a:pt x="175954" y="363312"/>
                </a:lnTo>
                <a:cubicBezTo>
                  <a:pt x="176362" y="363312"/>
                  <a:pt x="176362" y="363312"/>
                  <a:pt x="176770" y="363312"/>
                </a:cubicBezTo>
                <a:cubicBezTo>
                  <a:pt x="177585" y="363312"/>
                  <a:pt x="178808" y="363312"/>
                  <a:pt x="180032" y="363312"/>
                </a:cubicBezTo>
                <a:cubicBezTo>
                  <a:pt x="180439" y="363312"/>
                  <a:pt x="180439" y="363312"/>
                  <a:pt x="180847" y="363312"/>
                </a:cubicBezTo>
                <a:cubicBezTo>
                  <a:pt x="182070" y="363720"/>
                  <a:pt x="182886" y="363720"/>
                  <a:pt x="184109" y="364128"/>
                </a:cubicBezTo>
                <a:cubicBezTo>
                  <a:pt x="184517" y="364535"/>
                  <a:pt x="184925" y="364535"/>
                  <a:pt x="184925" y="364535"/>
                </a:cubicBezTo>
                <a:cubicBezTo>
                  <a:pt x="186148" y="364943"/>
                  <a:pt x="187371" y="365351"/>
                  <a:pt x="188187" y="366166"/>
                </a:cubicBezTo>
                <a:cubicBezTo>
                  <a:pt x="188594" y="366166"/>
                  <a:pt x="188594" y="366166"/>
                  <a:pt x="189410" y="366166"/>
                </a:cubicBezTo>
                <a:cubicBezTo>
                  <a:pt x="190633" y="367389"/>
                  <a:pt x="191449" y="368204"/>
                  <a:pt x="192672" y="369427"/>
                </a:cubicBezTo>
                <a:lnTo>
                  <a:pt x="196749" y="373096"/>
                </a:lnTo>
                <a:lnTo>
                  <a:pt x="215098" y="354344"/>
                </a:lnTo>
                <a:close/>
                <a:moveTo>
                  <a:pt x="64752" y="354344"/>
                </a:moveTo>
                <a:cubicBezTo>
                  <a:pt x="60649" y="354344"/>
                  <a:pt x="57776" y="357605"/>
                  <a:pt x="57776" y="361274"/>
                </a:cubicBezTo>
                <a:lnTo>
                  <a:pt x="57776" y="404893"/>
                </a:lnTo>
                <a:cubicBezTo>
                  <a:pt x="57776" y="408969"/>
                  <a:pt x="60649" y="412230"/>
                  <a:pt x="64752" y="412230"/>
                </a:cubicBezTo>
                <a:lnTo>
                  <a:pt x="110301" y="412230"/>
                </a:lnTo>
                <a:cubicBezTo>
                  <a:pt x="113994" y="412230"/>
                  <a:pt x="117277" y="408969"/>
                  <a:pt x="117277" y="404893"/>
                </a:cubicBezTo>
                <a:lnTo>
                  <a:pt x="117277" y="361274"/>
                </a:lnTo>
                <a:cubicBezTo>
                  <a:pt x="117277" y="357605"/>
                  <a:pt x="113994" y="354344"/>
                  <a:pt x="110301" y="354344"/>
                </a:cubicBezTo>
                <a:close/>
                <a:moveTo>
                  <a:pt x="301779" y="340077"/>
                </a:moveTo>
                <a:lnTo>
                  <a:pt x="347457" y="340077"/>
                </a:lnTo>
                <a:cubicBezTo>
                  <a:pt x="354041" y="340077"/>
                  <a:pt x="360213" y="342930"/>
                  <a:pt x="364328" y="348637"/>
                </a:cubicBezTo>
                <a:cubicBezTo>
                  <a:pt x="366797" y="351491"/>
                  <a:pt x="365974" y="355567"/>
                  <a:pt x="362682" y="358013"/>
                </a:cubicBezTo>
                <a:cubicBezTo>
                  <a:pt x="359802" y="360459"/>
                  <a:pt x="355275" y="360459"/>
                  <a:pt x="352806" y="356790"/>
                </a:cubicBezTo>
                <a:cubicBezTo>
                  <a:pt x="351572" y="355160"/>
                  <a:pt x="349514" y="354344"/>
                  <a:pt x="347457" y="354344"/>
                </a:cubicBezTo>
                <a:lnTo>
                  <a:pt x="301779" y="354344"/>
                </a:lnTo>
                <a:cubicBezTo>
                  <a:pt x="297664" y="354344"/>
                  <a:pt x="294372" y="357605"/>
                  <a:pt x="294372" y="361274"/>
                </a:cubicBezTo>
                <a:lnTo>
                  <a:pt x="294372" y="404893"/>
                </a:lnTo>
                <a:cubicBezTo>
                  <a:pt x="294372" y="408969"/>
                  <a:pt x="297664" y="412230"/>
                  <a:pt x="301779" y="412230"/>
                </a:cubicBezTo>
                <a:lnTo>
                  <a:pt x="326058" y="412230"/>
                </a:lnTo>
                <a:cubicBezTo>
                  <a:pt x="329762" y="412230"/>
                  <a:pt x="333054" y="415084"/>
                  <a:pt x="333054" y="419160"/>
                </a:cubicBezTo>
                <a:cubicBezTo>
                  <a:pt x="333054" y="422829"/>
                  <a:pt x="329762" y="426498"/>
                  <a:pt x="326058" y="426498"/>
                </a:cubicBezTo>
                <a:lnTo>
                  <a:pt x="301779" y="426498"/>
                </a:lnTo>
                <a:cubicBezTo>
                  <a:pt x="289846" y="426498"/>
                  <a:pt x="280381" y="416714"/>
                  <a:pt x="280381" y="404893"/>
                </a:cubicBezTo>
                <a:lnTo>
                  <a:pt x="280381" y="361274"/>
                </a:lnTo>
                <a:cubicBezTo>
                  <a:pt x="280381" y="349860"/>
                  <a:pt x="289846" y="340077"/>
                  <a:pt x="301779" y="340077"/>
                </a:cubicBezTo>
                <a:close/>
                <a:moveTo>
                  <a:pt x="182886" y="340077"/>
                </a:moveTo>
                <a:lnTo>
                  <a:pt x="228146" y="340077"/>
                </a:lnTo>
                <a:cubicBezTo>
                  <a:pt x="234670" y="340077"/>
                  <a:pt x="240786" y="342930"/>
                  <a:pt x="244863" y="347822"/>
                </a:cubicBezTo>
                <a:cubicBezTo>
                  <a:pt x="246087" y="348637"/>
                  <a:pt x="247310" y="349453"/>
                  <a:pt x="248533" y="350675"/>
                </a:cubicBezTo>
                <a:cubicBezTo>
                  <a:pt x="252203" y="354344"/>
                  <a:pt x="254649" y="359644"/>
                  <a:pt x="254649" y="365351"/>
                </a:cubicBezTo>
                <a:cubicBezTo>
                  <a:pt x="254649" y="370242"/>
                  <a:pt x="252610" y="374726"/>
                  <a:pt x="249756" y="378803"/>
                </a:cubicBezTo>
                <a:lnTo>
                  <a:pt x="249756" y="404893"/>
                </a:lnTo>
                <a:cubicBezTo>
                  <a:pt x="249756" y="416714"/>
                  <a:pt x="239970" y="426498"/>
                  <a:pt x="228146" y="426498"/>
                </a:cubicBezTo>
                <a:lnTo>
                  <a:pt x="182886" y="426498"/>
                </a:lnTo>
                <a:cubicBezTo>
                  <a:pt x="171469" y="426498"/>
                  <a:pt x="161683" y="416714"/>
                  <a:pt x="161683" y="404893"/>
                </a:cubicBezTo>
                <a:lnTo>
                  <a:pt x="161683" y="397147"/>
                </a:lnTo>
                <a:cubicBezTo>
                  <a:pt x="155567" y="389402"/>
                  <a:pt x="155567" y="378803"/>
                  <a:pt x="161683" y="371058"/>
                </a:cubicBezTo>
                <a:lnTo>
                  <a:pt x="161683" y="361274"/>
                </a:lnTo>
                <a:cubicBezTo>
                  <a:pt x="161683" y="349860"/>
                  <a:pt x="171469" y="340077"/>
                  <a:pt x="182886" y="340077"/>
                </a:cubicBezTo>
                <a:close/>
                <a:moveTo>
                  <a:pt x="64752" y="340077"/>
                </a:moveTo>
                <a:lnTo>
                  <a:pt x="110301" y="340077"/>
                </a:lnTo>
                <a:cubicBezTo>
                  <a:pt x="122201" y="340077"/>
                  <a:pt x="131640" y="349860"/>
                  <a:pt x="131640" y="361274"/>
                </a:cubicBezTo>
                <a:lnTo>
                  <a:pt x="131640" y="404893"/>
                </a:lnTo>
                <a:cubicBezTo>
                  <a:pt x="131640" y="416714"/>
                  <a:pt x="122201" y="426498"/>
                  <a:pt x="110301" y="426498"/>
                </a:cubicBezTo>
                <a:lnTo>
                  <a:pt x="64752" y="426498"/>
                </a:lnTo>
                <a:cubicBezTo>
                  <a:pt x="52852" y="426498"/>
                  <a:pt x="43414" y="416714"/>
                  <a:pt x="43414" y="404893"/>
                </a:cubicBezTo>
                <a:lnTo>
                  <a:pt x="43414" y="361274"/>
                </a:lnTo>
                <a:cubicBezTo>
                  <a:pt x="43414" y="349860"/>
                  <a:pt x="52852" y="340077"/>
                  <a:pt x="64752" y="340077"/>
                </a:cubicBezTo>
                <a:close/>
                <a:moveTo>
                  <a:pt x="443540" y="332841"/>
                </a:moveTo>
                <a:cubicBezTo>
                  <a:pt x="500033" y="332841"/>
                  <a:pt x="545883" y="378849"/>
                  <a:pt x="545883" y="435539"/>
                </a:cubicBezTo>
                <a:cubicBezTo>
                  <a:pt x="545883" y="492228"/>
                  <a:pt x="500033" y="538647"/>
                  <a:pt x="443540" y="538647"/>
                </a:cubicBezTo>
                <a:cubicBezTo>
                  <a:pt x="389503" y="538647"/>
                  <a:pt x="344882" y="496747"/>
                  <a:pt x="341198" y="442933"/>
                </a:cubicBezTo>
                <a:cubicBezTo>
                  <a:pt x="340788" y="438825"/>
                  <a:pt x="343654" y="435539"/>
                  <a:pt x="347748" y="435128"/>
                </a:cubicBezTo>
                <a:cubicBezTo>
                  <a:pt x="351841" y="435128"/>
                  <a:pt x="355116" y="438004"/>
                  <a:pt x="355526" y="442112"/>
                </a:cubicBezTo>
                <a:cubicBezTo>
                  <a:pt x="358391" y="488120"/>
                  <a:pt x="397281" y="524270"/>
                  <a:pt x="443540" y="524270"/>
                </a:cubicBezTo>
                <a:cubicBezTo>
                  <a:pt x="491846" y="524270"/>
                  <a:pt x="531145" y="484834"/>
                  <a:pt x="531145" y="435539"/>
                </a:cubicBezTo>
                <a:cubicBezTo>
                  <a:pt x="531145" y="387065"/>
                  <a:pt x="491846" y="347218"/>
                  <a:pt x="443540" y="347218"/>
                </a:cubicBezTo>
                <a:cubicBezTo>
                  <a:pt x="411200" y="347218"/>
                  <a:pt x="382954" y="364061"/>
                  <a:pt x="366988" y="390762"/>
                </a:cubicBezTo>
                <a:lnTo>
                  <a:pt x="373947" y="386654"/>
                </a:lnTo>
                <a:cubicBezTo>
                  <a:pt x="377222" y="384600"/>
                  <a:pt x="381316" y="385422"/>
                  <a:pt x="383363" y="388708"/>
                </a:cubicBezTo>
                <a:cubicBezTo>
                  <a:pt x="385819" y="391995"/>
                  <a:pt x="384591" y="396514"/>
                  <a:pt x="381316" y="398568"/>
                </a:cubicBezTo>
                <a:lnTo>
                  <a:pt x="355116" y="414999"/>
                </a:lnTo>
                <a:cubicBezTo>
                  <a:pt x="354298" y="415821"/>
                  <a:pt x="352660" y="416232"/>
                  <a:pt x="351432" y="416232"/>
                </a:cubicBezTo>
                <a:cubicBezTo>
                  <a:pt x="350613" y="416232"/>
                  <a:pt x="349795" y="416232"/>
                  <a:pt x="348976" y="415821"/>
                </a:cubicBezTo>
                <a:cubicBezTo>
                  <a:pt x="346929" y="414999"/>
                  <a:pt x="345292" y="413356"/>
                  <a:pt x="344882" y="411302"/>
                </a:cubicBezTo>
                <a:lnTo>
                  <a:pt x="335467" y="382546"/>
                </a:lnTo>
                <a:cubicBezTo>
                  <a:pt x="334648" y="378849"/>
                  <a:pt x="336695" y="374741"/>
                  <a:pt x="340379" y="373509"/>
                </a:cubicBezTo>
                <a:cubicBezTo>
                  <a:pt x="344063" y="372277"/>
                  <a:pt x="348157" y="374331"/>
                  <a:pt x="349385" y="378028"/>
                </a:cubicBezTo>
                <a:lnTo>
                  <a:pt x="352251" y="388298"/>
                </a:lnTo>
                <a:cubicBezTo>
                  <a:pt x="369444" y="354202"/>
                  <a:pt x="404241" y="332841"/>
                  <a:pt x="443540" y="332841"/>
                </a:cubicBezTo>
                <a:close/>
                <a:moveTo>
                  <a:pt x="117905" y="289960"/>
                </a:moveTo>
                <a:lnTo>
                  <a:pt x="99148" y="309120"/>
                </a:lnTo>
                <a:lnTo>
                  <a:pt x="110973" y="309120"/>
                </a:lnTo>
                <a:cubicBezTo>
                  <a:pt x="114643" y="309120"/>
                  <a:pt x="117905" y="305858"/>
                  <a:pt x="117905" y="302190"/>
                </a:cubicBezTo>
                <a:close/>
                <a:moveTo>
                  <a:pt x="115458" y="255718"/>
                </a:moveTo>
                <a:cubicBezTo>
                  <a:pt x="115051" y="256126"/>
                  <a:pt x="114643" y="256126"/>
                  <a:pt x="114235" y="256126"/>
                </a:cubicBezTo>
                <a:cubicBezTo>
                  <a:pt x="113827" y="256126"/>
                  <a:pt x="113420" y="256126"/>
                  <a:pt x="113420" y="256126"/>
                </a:cubicBezTo>
                <a:cubicBezTo>
                  <a:pt x="112604" y="256534"/>
                  <a:pt x="112196" y="257349"/>
                  <a:pt x="111381" y="257349"/>
                </a:cubicBezTo>
                <a:cubicBezTo>
                  <a:pt x="111381" y="257349"/>
                  <a:pt x="110973" y="257349"/>
                  <a:pt x="110973" y="257757"/>
                </a:cubicBezTo>
                <a:lnTo>
                  <a:pt x="87324" y="281808"/>
                </a:lnTo>
                <a:cubicBezTo>
                  <a:pt x="82838" y="286292"/>
                  <a:pt x="75499" y="286292"/>
                  <a:pt x="71014" y="281808"/>
                </a:cubicBezTo>
                <a:lnTo>
                  <a:pt x="65305" y="276508"/>
                </a:lnTo>
                <a:cubicBezTo>
                  <a:pt x="64490" y="275693"/>
                  <a:pt x="63674" y="275285"/>
                  <a:pt x="63266" y="274878"/>
                </a:cubicBezTo>
                <a:cubicBezTo>
                  <a:pt x="62451" y="274878"/>
                  <a:pt x="62043" y="274878"/>
                  <a:pt x="61228" y="274470"/>
                </a:cubicBezTo>
                <a:cubicBezTo>
                  <a:pt x="61228" y="274470"/>
                  <a:pt x="61228" y="274470"/>
                  <a:pt x="60820" y="274470"/>
                </a:cubicBezTo>
                <a:cubicBezTo>
                  <a:pt x="60004" y="274470"/>
                  <a:pt x="59189" y="274470"/>
                  <a:pt x="58373" y="274878"/>
                </a:cubicBezTo>
                <a:cubicBezTo>
                  <a:pt x="57558" y="274878"/>
                  <a:pt x="56742" y="275285"/>
                  <a:pt x="56335" y="276100"/>
                </a:cubicBezTo>
                <a:cubicBezTo>
                  <a:pt x="56335" y="276100"/>
                  <a:pt x="56335" y="276100"/>
                  <a:pt x="55927" y="276100"/>
                </a:cubicBezTo>
                <a:lnTo>
                  <a:pt x="55519" y="276508"/>
                </a:lnTo>
                <a:cubicBezTo>
                  <a:pt x="53073" y="279362"/>
                  <a:pt x="53073" y="283438"/>
                  <a:pt x="55519" y="285884"/>
                </a:cubicBezTo>
                <a:lnTo>
                  <a:pt x="58373" y="288737"/>
                </a:lnTo>
                <a:lnTo>
                  <a:pt x="71421" y="301374"/>
                </a:lnTo>
                <a:cubicBezTo>
                  <a:pt x="72645" y="302597"/>
                  <a:pt x="73868" y="303413"/>
                  <a:pt x="75499" y="303820"/>
                </a:cubicBezTo>
                <a:cubicBezTo>
                  <a:pt x="79169" y="305043"/>
                  <a:pt x="84062" y="304636"/>
                  <a:pt x="86508" y="301374"/>
                </a:cubicBezTo>
                <a:lnTo>
                  <a:pt x="104449" y="283438"/>
                </a:lnTo>
                <a:lnTo>
                  <a:pt x="120759" y="267132"/>
                </a:lnTo>
                <a:cubicBezTo>
                  <a:pt x="121982" y="265909"/>
                  <a:pt x="122798" y="264279"/>
                  <a:pt x="122798" y="262241"/>
                </a:cubicBezTo>
                <a:cubicBezTo>
                  <a:pt x="122798" y="260610"/>
                  <a:pt x="121982" y="258979"/>
                  <a:pt x="120759" y="257757"/>
                </a:cubicBezTo>
                <a:cubicBezTo>
                  <a:pt x="120351" y="257349"/>
                  <a:pt x="119536" y="256941"/>
                  <a:pt x="119128" y="256534"/>
                </a:cubicBezTo>
                <a:cubicBezTo>
                  <a:pt x="118313" y="256126"/>
                  <a:pt x="117905" y="256126"/>
                  <a:pt x="117905" y="256126"/>
                </a:cubicBezTo>
                <a:cubicBezTo>
                  <a:pt x="117089" y="256126"/>
                  <a:pt x="116682" y="256126"/>
                  <a:pt x="116682" y="256126"/>
                </a:cubicBezTo>
                <a:cubicBezTo>
                  <a:pt x="116274" y="255718"/>
                  <a:pt x="115866" y="255718"/>
                  <a:pt x="115458" y="255718"/>
                </a:cubicBezTo>
                <a:close/>
                <a:moveTo>
                  <a:pt x="301819" y="251642"/>
                </a:moveTo>
                <a:cubicBezTo>
                  <a:pt x="297696" y="251642"/>
                  <a:pt x="294398" y="254495"/>
                  <a:pt x="294398" y="258572"/>
                </a:cubicBezTo>
                <a:lnTo>
                  <a:pt x="294398" y="302190"/>
                </a:lnTo>
                <a:cubicBezTo>
                  <a:pt x="294398" y="305858"/>
                  <a:pt x="297696" y="309120"/>
                  <a:pt x="301819" y="309120"/>
                </a:cubicBezTo>
                <a:lnTo>
                  <a:pt x="347581" y="309120"/>
                </a:lnTo>
                <a:cubicBezTo>
                  <a:pt x="351291" y="309120"/>
                  <a:pt x="354589" y="305858"/>
                  <a:pt x="354589" y="302190"/>
                </a:cubicBezTo>
                <a:lnTo>
                  <a:pt x="354589" y="258572"/>
                </a:lnTo>
                <a:cubicBezTo>
                  <a:pt x="354589" y="254495"/>
                  <a:pt x="351291" y="251642"/>
                  <a:pt x="347581" y="251642"/>
                </a:cubicBezTo>
                <a:close/>
                <a:moveTo>
                  <a:pt x="184043" y="251642"/>
                </a:moveTo>
                <a:cubicBezTo>
                  <a:pt x="180367" y="251642"/>
                  <a:pt x="177099" y="254495"/>
                  <a:pt x="177099" y="258572"/>
                </a:cubicBezTo>
                <a:lnTo>
                  <a:pt x="177099" y="302190"/>
                </a:lnTo>
                <a:cubicBezTo>
                  <a:pt x="177099" y="305858"/>
                  <a:pt x="180367" y="309120"/>
                  <a:pt x="184043" y="309120"/>
                </a:cubicBezTo>
                <a:lnTo>
                  <a:pt x="229382" y="309120"/>
                </a:lnTo>
                <a:cubicBezTo>
                  <a:pt x="233467" y="309120"/>
                  <a:pt x="236734" y="305858"/>
                  <a:pt x="236734" y="302190"/>
                </a:cubicBezTo>
                <a:lnTo>
                  <a:pt x="236734" y="258572"/>
                </a:lnTo>
                <a:cubicBezTo>
                  <a:pt x="236734" y="254495"/>
                  <a:pt x="233467" y="251642"/>
                  <a:pt x="229382" y="251642"/>
                </a:cubicBezTo>
                <a:close/>
                <a:moveTo>
                  <a:pt x="65713" y="251642"/>
                </a:moveTo>
                <a:cubicBezTo>
                  <a:pt x="61635" y="251642"/>
                  <a:pt x="58781" y="254495"/>
                  <a:pt x="58781" y="258572"/>
                </a:cubicBezTo>
                <a:lnTo>
                  <a:pt x="58781" y="260202"/>
                </a:lnTo>
                <a:cubicBezTo>
                  <a:pt x="60004" y="260202"/>
                  <a:pt x="61228" y="260202"/>
                  <a:pt x="62451" y="260202"/>
                </a:cubicBezTo>
                <a:cubicBezTo>
                  <a:pt x="62451" y="260610"/>
                  <a:pt x="63266" y="260610"/>
                  <a:pt x="63266" y="260610"/>
                </a:cubicBezTo>
                <a:cubicBezTo>
                  <a:pt x="64490" y="260610"/>
                  <a:pt x="65713" y="261018"/>
                  <a:pt x="66528" y="261018"/>
                </a:cubicBezTo>
                <a:cubicBezTo>
                  <a:pt x="66936" y="261425"/>
                  <a:pt x="67344" y="261425"/>
                  <a:pt x="67752" y="261425"/>
                </a:cubicBezTo>
                <a:cubicBezTo>
                  <a:pt x="68567" y="262241"/>
                  <a:pt x="69790" y="262241"/>
                  <a:pt x="70606" y="263056"/>
                </a:cubicBezTo>
                <a:cubicBezTo>
                  <a:pt x="71014" y="263056"/>
                  <a:pt x="71421" y="263056"/>
                  <a:pt x="71421" y="263464"/>
                </a:cubicBezTo>
                <a:cubicBezTo>
                  <a:pt x="72645" y="264279"/>
                  <a:pt x="73868" y="265094"/>
                  <a:pt x="75091" y="266317"/>
                </a:cubicBezTo>
                <a:lnTo>
                  <a:pt x="79169" y="270393"/>
                </a:lnTo>
                <a:lnTo>
                  <a:pt x="97517" y="251642"/>
                </a:lnTo>
                <a:close/>
                <a:moveTo>
                  <a:pt x="301819" y="236967"/>
                </a:moveTo>
                <a:lnTo>
                  <a:pt x="347581" y="236967"/>
                </a:lnTo>
                <a:cubicBezTo>
                  <a:pt x="359124" y="236967"/>
                  <a:pt x="368607" y="246750"/>
                  <a:pt x="368607" y="258572"/>
                </a:cubicBezTo>
                <a:lnTo>
                  <a:pt x="368607" y="302190"/>
                </a:lnTo>
                <a:cubicBezTo>
                  <a:pt x="368607" y="313604"/>
                  <a:pt x="359124" y="323387"/>
                  <a:pt x="347581" y="323387"/>
                </a:cubicBezTo>
                <a:lnTo>
                  <a:pt x="301819" y="323387"/>
                </a:lnTo>
                <a:cubicBezTo>
                  <a:pt x="289863" y="323387"/>
                  <a:pt x="280381" y="313604"/>
                  <a:pt x="280381" y="302190"/>
                </a:cubicBezTo>
                <a:lnTo>
                  <a:pt x="280381" y="258572"/>
                </a:lnTo>
                <a:cubicBezTo>
                  <a:pt x="280381" y="246750"/>
                  <a:pt x="289863" y="236967"/>
                  <a:pt x="301819" y="236967"/>
                </a:cubicBezTo>
                <a:close/>
                <a:moveTo>
                  <a:pt x="184043" y="236967"/>
                </a:moveTo>
                <a:lnTo>
                  <a:pt x="229382" y="236967"/>
                </a:lnTo>
                <a:cubicBezTo>
                  <a:pt x="241227" y="236967"/>
                  <a:pt x="251030" y="246750"/>
                  <a:pt x="251030" y="258572"/>
                </a:cubicBezTo>
                <a:lnTo>
                  <a:pt x="251030" y="302190"/>
                </a:lnTo>
                <a:cubicBezTo>
                  <a:pt x="251030" y="313604"/>
                  <a:pt x="241227" y="323387"/>
                  <a:pt x="229382" y="323387"/>
                </a:cubicBezTo>
                <a:lnTo>
                  <a:pt x="184043" y="323387"/>
                </a:lnTo>
                <a:cubicBezTo>
                  <a:pt x="172606" y="323387"/>
                  <a:pt x="162803" y="313604"/>
                  <a:pt x="162803" y="302190"/>
                </a:cubicBezTo>
                <a:lnTo>
                  <a:pt x="162803" y="258572"/>
                </a:lnTo>
                <a:cubicBezTo>
                  <a:pt x="162803" y="246750"/>
                  <a:pt x="172606" y="236967"/>
                  <a:pt x="184043" y="236967"/>
                </a:cubicBezTo>
                <a:close/>
                <a:moveTo>
                  <a:pt x="65713" y="236967"/>
                </a:moveTo>
                <a:lnTo>
                  <a:pt x="110973" y="236967"/>
                </a:lnTo>
                <a:cubicBezTo>
                  <a:pt x="117089" y="236967"/>
                  <a:pt x="123206" y="240228"/>
                  <a:pt x="127283" y="244712"/>
                </a:cubicBezTo>
                <a:cubicBezTo>
                  <a:pt x="128506" y="245935"/>
                  <a:pt x="129730" y="246750"/>
                  <a:pt x="130953" y="247565"/>
                </a:cubicBezTo>
                <a:cubicBezTo>
                  <a:pt x="134623" y="251642"/>
                  <a:pt x="137069" y="256941"/>
                  <a:pt x="137069" y="262241"/>
                </a:cubicBezTo>
                <a:cubicBezTo>
                  <a:pt x="137069" y="267132"/>
                  <a:pt x="135438" y="271616"/>
                  <a:pt x="132176" y="275693"/>
                </a:cubicBezTo>
                <a:lnTo>
                  <a:pt x="132176" y="302190"/>
                </a:lnTo>
                <a:cubicBezTo>
                  <a:pt x="132176" y="313604"/>
                  <a:pt x="122798" y="323387"/>
                  <a:pt x="110973" y="323387"/>
                </a:cubicBezTo>
                <a:lnTo>
                  <a:pt x="65713" y="323387"/>
                </a:lnTo>
                <a:cubicBezTo>
                  <a:pt x="53888" y="323387"/>
                  <a:pt x="44510" y="313604"/>
                  <a:pt x="44510" y="302190"/>
                </a:cubicBezTo>
                <a:lnTo>
                  <a:pt x="44510" y="294444"/>
                </a:lnTo>
                <a:cubicBezTo>
                  <a:pt x="37986" y="286292"/>
                  <a:pt x="37986" y="275693"/>
                  <a:pt x="44510" y="267948"/>
                </a:cubicBezTo>
                <a:lnTo>
                  <a:pt x="44510" y="258572"/>
                </a:lnTo>
                <a:cubicBezTo>
                  <a:pt x="44510" y="246750"/>
                  <a:pt x="53888" y="236967"/>
                  <a:pt x="65713" y="236967"/>
                </a:cubicBezTo>
                <a:close/>
                <a:moveTo>
                  <a:pt x="301819" y="147785"/>
                </a:moveTo>
                <a:cubicBezTo>
                  <a:pt x="297696" y="147785"/>
                  <a:pt x="294398" y="151062"/>
                  <a:pt x="294398" y="155157"/>
                </a:cubicBezTo>
                <a:lnTo>
                  <a:pt x="294398" y="198981"/>
                </a:lnTo>
                <a:cubicBezTo>
                  <a:pt x="294398" y="203076"/>
                  <a:pt x="297696" y="205943"/>
                  <a:pt x="301819" y="205943"/>
                </a:cubicBezTo>
                <a:lnTo>
                  <a:pt x="347581" y="205943"/>
                </a:lnTo>
                <a:cubicBezTo>
                  <a:pt x="351291" y="205943"/>
                  <a:pt x="354589" y="203076"/>
                  <a:pt x="354589" y="198981"/>
                </a:cubicBezTo>
                <a:lnTo>
                  <a:pt x="354589" y="155157"/>
                </a:lnTo>
                <a:cubicBezTo>
                  <a:pt x="354589" y="151062"/>
                  <a:pt x="351291" y="147785"/>
                  <a:pt x="347581" y="147785"/>
                </a:cubicBezTo>
                <a:close/>
                <a:moveTo>
                  <a:pt x="184043" y="147785"/>
                </a:moveTo>
                <a:cubicBezTo>
                  <a:pt x="180367" y="147785"/>
                  <a:pt x="177099" y="151062"/>
                  <a:pt x="177099" y="155157"/>
                </a:cubicBezTo>
                <a:lnTo>
                  <a:pt x="177099" y="198981"/>
                </a:lnTo>
                <a:cubicBezTo>
                  <a:pt x="177099" y="203076"/>
                  <a:pt x="180367" y="205943"/>
                  <a:pt x="184043" y="205943"/>
                </a:cubicBezTo>
                <a:lnTo>
                  <a:pt x="229382" y="205943"/>
                </a:lnTo>
                <a:cubicBezTo>
                  <a:pt x="233467" y="205943"/>
                  <a:pt x="236734" y="203076"/>
                  <a:pt x="236734" y="198981"/>
                </a:cubicBezTo>
                <a:lnTo>
                  <a:pt x="236734" y="155157"/>
                </a:lnTo>
                <a:cubicBezTo>
                  <a:pt x="236734" y="151062"/>
                  <a:pt x="233467" y="147785"/>
                  <a:pt x="229382" y="147785"/>
                </a:cubicBezTo>
                <a:close/>
                <a:moveTo>
                  <a:pt x="64752" y="147785"/>
                </a:moveTo>
                <a:cubicBezTo>
                  <a:pt x="60649" y="147785"/>
                  <a:pt x="57776" y="151062"/>
                  <a:pt x="57776" y="155157"/>
                </a:cubicBezTo>
                <a:lnTo>
                  <a:pt x="57776" y="198981"/>
                </a:lnTo>
                <a:cubicBezTo>
                  <a:pt x="57776" y="203076"/>
                  <a:pt x="60649" y="205943"/>
                  <a:pt x="64752" y="205943"/>
                </a:cubicBezTo>
                <a:lnTo>
                  <a:pt x="110301" y="205943"/>
                </a:lnTo>
                <a:cubicBezTo>
                  <a:pt x="113994" y="205943"/>
                  <a:pt x="117277" y="203076"/>
                  <a:pt x="117277" y="198981"/>
                </a:cubicBezTo>
                <a:lnTo>
                  <a:pt x="117277" y="155157"/>
                </a:lnTo>
                <a:cubicBezTo>
                  <a:pt x="117277" y="151062"/>
                  <a:pt x="113994" y="147785"/>
                  <a:pt x="110301" y="147785"/>
                </a:cubicBezTo>
                <a:close/>
                <a:moveTo>
                  <a:pt x="301819" y="133860"/>
                </a:moveTo>
                <a:lnTo>
                  <a:pt x="347581" y="133860"/>
                </a:lnTo>
                <a:cubicBezTo>
                  <a:pt x="359124" y="133860"/>
                  <a:pt x="368607" y="143280"/>
                  <a:pt x="368607" y="155157"/>
                </a:cubicBezTo>
                <a:lnTo>
                  <a:pt x="368607" y="198981"/>
                </a:lnTo>
                <a:cubicBezTo>
                  <a:pt x="368607" y="210858"/>
                  <a:pt x="359124" y="220278"/>
                  <a:pt x="347581" y="220278"/>
                </a:cubicBezTo>
                <a:lnTo>
                  <a:pt x="301819" y="220278"/>
                </a:lnTo>
                <a:cubicBezTo>
                  <a:pt x="289863" y="220278"/>
                  <a:pt x="280381" y="210858"/>
                  <a:pt x="280381" y="198981"/>
                </a:cubicBezTo>
                <a:lnTo>
                  <a:pt x="280381" y="155157"/>
                </a:lnTo>
                <a:cubicBezTo>
                  <a:pt x="280381" y="143280"/>
                  <a:pt x="289863" y="133860"/>
                  <a:pt x="301819" y="133860"/>
                </a:cubicBezTo>
                <a:close/>
                <a:moveTo>
                  <a:pt x="184043" y="133860"/>
                </a:moveTo>
                <a:lnTo>
                  <a:pt x="229382" y="133860"/>
                </a:lnTo>
                <a:cubicBezTo>
                  <a:pt x="241227" y="133860"/>
                  <a:pt x="251030" y="143280"/>
                  <a:pt x="251030" y="155157"/>
                </a:cubicBezTo>
                <a:lnTo>
                  <a:pt x="251030" y="198981"/>
                </a:lnTo>
                <a:cubicBezTo>
                  <a:pt x="251030" y="210858"/>
                  <a:pt x="241227" y="220278"/>
                  <a:pt x="229382" y="220278"/>
                </a:cubicBezTo>
                <a:lnTo>
                  <a:pt x="184043" y="220278"/>
                </a:lnTo>
                <a:cubicBezTo>
                  <a:pt x="172606" y="220278"/>
                  <a:pt x="162803" y="210858"/>
                  <a:pt x="162803" y="198981"/>
                </a:cubicBezTo>
                <a:lnTo>
                  <a:pt x="162803" y="155157"/>
                </a:lnTo>
                <a:cubicBezTo>
                  <a:pt x="162803" y="143280"/>
                  <a:pt x="172606" y="133860"/>
                  <a:pt x="184043" y="133860"/>
                </a:cubicBezTo>
                <a:close/>
                <a:moveTo>
                  <a:pt x="64752" y="133860"/>
                </a:moveTo>
                <a:lnTo>
                  <a:pt x="110301" y="133860"/>
                </a:lnTo>
                <a:cubicBezTo>
                  <a:pt x="122201" y="133860"/>
                  <a:pt x="131640" y="143280"/>
                  <a:pt x="131640" y="155157"/>
                </a:cubicBezTo>
                <a:lnTo>
                  <a:pt x="131640" y="198981"/>
                </a:lnTo>
                <a:cubicBezTo>
                  <a:pt x="131640" y="210858"/>
                  <a:pt x="122201" y="220278"/>
                  <a:pt x="110301" y="220278"/>
                </a:cubicBezTo>
                <a:lnTo>
                  <a:pt x="64752" y="220278"/>
                </a:lnTo>
                <a:cubicBezTo>
                  <a:pt x="52852" y="220278"/>
                  <a:pt x="43414" y="210858"/>
                  <a:pt x="43414" y="198981"/>
                </a:cubicBezTo>
                <a:lnTo>
                  <a:pt x="43414" y="155157"/>
                </a:lnTo>
                <a:cubicBezTo>
                  <a:pt x="43414" y="143280"/>
                  <a:pt x="52852" y="133860"/>
                  <a:pt x="64752" y="133860"/>
                </a:cubicBezTo>
                <a:close/>
                <a:moveTo>
                  <a:pt x="32811" y="43934"/>
                </a:moveTo>
                <a:cubicBezTo>
                  <a:pt x="22558" y="43934"/>
                  <a:pt x="14355" y="52146"/>
                  <a:pt x="14355" y="62001"/>
                </a:cubicBezTo>
                <a:lnTo>
                  <a:pt x="14355" y="103472"/>
                </a:lnTo>
                <a:lnTo>
                  <a:pt x="399887" y="103472"/>
                </a:lnTo>
                <a:lnTo>
                  <a:pt x="399887" y="62001"/>
                </a:lnTo>
                <a:cubicBezTo>
                  <a:pt x="399887" y="52146"/>
                  <a:pt x="391684" y="43934"/>
                  <a:pt x="381431" y="43934"/>
                </a:cubicBezTo>
                <a:lnTo>
                  <a:pt x="353951" y="43934"/>
                </a:lnTo>
                <a:lnTo>
                  <a:pt x="353951" y="52557"/>
                </a:lnTo>
                <a:cubicBezTo>
                  <a:pt x="353951" y="64054"/>
                  <a:pt x="344518" y="73498"/>
                  <a:pt x="333034" y="73498"/>
                </a:cubicBezTo>
                <a:cubicBezTo>
                  <a:pt x="321550" y="73498"/>
                  <a:pt x="312117" y="64054"/>
                  <a:pt x="312117" y="52557"/>
                </a:cubicBezTo>
                <a:lnTo>
                  <a:pt x="312117" y="43934"/>
                </a:lnTo>
                <a:lnTo>
                  <a:pt x="102125" y="43934"/>
                </a:lnTo>
                <a:lnTo>
                  <a:pt x="102125" y="52557"/>
                </a:lnTo>
                <a:cubicBezTo>
                  <a:pt x="102125" y="64054"/>
                  <a:pt x="93102" y="73498"/>
                  <a:pt x="81208" y="73498"/>
                </a:cubicBezTo>
                <a:cubicBezTo>
                  <a:pt x="69724" y="73498"/>
                  <a:pt x="60291" y="64054"/>
                  <a:pt x="60291" y="52557"/>
                </a:cubicBezTo>
                <a:lnTo>
                  <a:pt x="60291" y="43934"/>
                </a:lnTo>
                <a:close/>
                <a:moveTo>
                  <a:pt x="333034" y="13960"/>
                </a:moveTo>
                <a:cubicBezTo>
                  <a:pt x="329343" y="13960"/>
                  <a:pt x="326472" y="17245"/>
                  <a:pt x="326472" y="20941"/>
                </a:cubicBezTo>
                <a:lnTo>
                  <a:pt x="326472" y="52557"/>
                </a:lnTo>
                <a:cubicBezTo>
                  <a:pt x="326472" y="56252"/>
                  <a:pt x="329343" y="59127"/>
                  <a:pt x="333034" y="59127"/>
                </a:cubicBezTo>
                <a:cubicBezTo>
                  <a:pt x="336725" y="59127"/>
                  <a:pt x="339596" y="56252"/>
                  <a:pt x="339596" y="52557"/>
                </a:cubicBezTo>
                <a:lnTo>
                  <a:pt x="339596" y="20941"/>
                </a:lnTo>
                <a:cubicBezTo>
                  <a:pt x="339596" y="17245"/>
                  <a:pt x="336725" y="13960"/>
                  <a:pt x="333034" y="13960"/>
                </a:cubicBezTo>
                <a:close/>
                <a:moveTo>
                  <a:pt x="81208" y="13960"/>
                </a:moveTo>
                <a:cubicBezTo>
                  <a:pt x="77927" y="13960"/>
                  <a:pt x="74646" y="17245"/>
                  <a:pt x="74646" y="20941"/>
                </a:cubicBezTo>
                <a:lnTo>
                  <a:pt x="74646" y="52557"/>
                </a:lnTo>
                <a:cubicBezTo>
                  <a:pt x="74646" y="56252"/>
                  <a:pt x="77927" y="59127"/>
                  <a:pt x="81208" y="59127"/>
                </a:cubicBezTo>
                <a:cubicBezTo>
                  <a:pt x="84899" y="59127"/>
                  <a:pt x="88180" y="56252"/>
                  <a:pt x="88180" y="52557"/>
                </a:cubicBezTo>
                <a:lnTo>
                  <a:pt x="88180" y="20941"/>
                </a:lnTo>
                <a:cubicBezTo>
                  <a:pt x="88180" y="17245"/>
                  <a:pt x="84899" y="13960"/>
                  <a:pt x="81208" y="13960"/>
                </a:cubicBezTo>
                <a:close/>
                <a:moveTo>
                  <a:pt x="81208" y="0"/>
                </a:moveTo>
                <a:cubicBezTo>
                  <a:pt x="93102" y="0"/>
                  <a:pt x="102125" y="9444"/>
                  <a:pt x="102125" y="20941"/>
                </a:cubicBezTo>
                <a:lnTo>
                  <a:pt x="102125" y="29153"/>
                </a:lnTo>
                <a:lnTo>
                  <a:pt x="312117" y="29153"/>
                </a:lnTo>
                <a:lnTo>
                  <a:pt x="312117" y="20941"/>
                </a:lnTo>
                <a:cubicBezTo>
                  <a:pt x="312117" y="9444"/>
                  <a:pt x="321550" y="0"/>
                  <a:pt x="333034" y="0"/>
                </a:cubicBezTo>
                <a:cubicBezTo>
                  <a:pt x="344518" y="0"/>
                  <a:pt x="353951" y="9444"/>
                  <a:pt x="353951" y="20941"/>
                </a:cubicBezTo>
                <a:lnTo>
                  <a:pt x="353951" y="29153"/>
                </a:lnTo>
                <a:lnTo>
                  <a:pt x="381431" y="29153"/>
                </a:lnTo>
                <a:cubicBezTo>
                  <a:pt x="399477" y="29153"/>
                  <a:pt x="413832" y="44345"/>
                  <a:pt x="413832" y="62001"/>
                </a:cubicBezTo>
                <a:lnTo>
                  <a:pt x="413832" y="322734"/>
                </a:lnTo>
                <a:cubicBezTo>
                  <a:pt x="413832" y="327251"/>
                  <a:pt x="410961" y="330125"/>
                  <a:pt x="406859" y="330125"/>
                </a:cubicBezTo>
                <a:cubicBezTo>
                  <a:pt x="403168" y="330125"/>
                  <a:pt x="399887" y="327251"/>
                  <a:pt x="399887" y="322734"/>
                </a:cubicBezTo>
                <a:lnTo>
                  <a:pt x="399887" y="118253"/>
                </a:lnTo>
                <a:lnTo>
                  <a:pt x="14355" y="118253"/>
                </a:lnTo>
                <a:lnTo>
                  <a:pt x="14355" y="426206"/>
                </a:lnTo>
                <a:cubicBezTo>
                  <a:pt x="14355" y="436061"/>
                  <a:pt x="22558" y="444684"/>
                  <a:pt x="32811" y="444684"/>
                </a:cubicBezTo>
                <a:lnTo>
                  <a:pt x="319499" y="444684"/>
                </a:lnTo>
                <a:cubicBezTo>
                  <a:pt x="323601" y="444684"/>
                  <a:pt x="326472" y="447968"/>
                  <a:pt x="326472" y="451664"/>
                </a:cubicBezTo>
                <a:cubicBezTo>
                  <a:pt x="326472" y="455770"/>
                  <a:pt x="323601" y="459055"/>
                  <a:pt x="319499" y="459055"/>
                </a:cubicBezTo>
                <a:lnTo>
                  <a:pt x="32811" y="459055"/>
                </a:lnTo>
                <a:cubicBezTo>
                  <a:pt x="14765" y="459055"/>
                  <a:pt x="0" y="444273"/>
                  <a:pt x="0" y="426206"/>
                </a:cubicBezTo>
                <a:lnTo>
                  <a:pt x="0" y="62001"/>
                </a:lnTo>
                <a:cubicBezTo>
                  <a:pt x="0" y="44345"/>
                  <a:pt x="14765" y="29153"/>
                  <a:pt x="32811" y="29153"/>
                </a:cubicBezTo>
                <a:lnTo>
                  <a:pt x="60291" y="29153"/>
                </a:lnTo>
                <a:lnTo>
                  <a:pt x="60291" y="20941"/>
                </a:lnTo>
                <a:cubicBezTo>
                  <a:pt x="60291" y="9444"/>
                  <a:pt x="69724" y="0"/>
                  <a:pt x="81208" y="0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  <p:sp>
        <p:nvSpPr>
          <p:cNvPr id="58" name="Freeform 23">
            <a:extLst>
              <a:ext uri="{FF2B5EF4-FFF2-40B4-BE49-F238E27FC236}">
                <a16:creationId xmlns:a16="http://schemas.microsoft.com/office/drawing/2014/main" id="{6E5F9FA4-1AC3-4582-8544-B5B9C7B00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4402" y="5983454"/>
            <a:ext cx="615548" cy="483740"/>
          </a:xfrm>
          <a:custGeom>
            <a:avLst/>
            <a:gdLst>
              <a:gd name="connsiteX0" fmla="*/ 256490 w 518355"/>
              <a:gd name="connsiteY0" fmla="*/ 150903 h 407360"/>
              <a:gd name="connsiteX1" fmla="*/ 261461 w 518355"/>
              <a:gd name="connsiteY1" fmla="*/ 150903 h 407360"/>
              <a:gd name="connsiteX2" fmla="*/ 263946 w 518355"/>
              <a:gd name="connsiteY2" fmla="*/ 153370 h 407360"/>
              <a:gd name="connsiteX3" fmla="*/ 263946 w 518355"/>
              <a:gd name="connsiteY3" fmla="*/ 165292 h 407360"/>
              <a:gd name="connsiteX4" fmla="*/ 270989 w 518355"/>
              <a:gd name="connsiteY4" fmla="*/ 166937 h 407360"/>
              <a:gd name="connsiteX5" fmla="*/ 277617 w 518355"/>
              <a:gd name="connsiteY5" fmla="*/ 172282 h 407360"/>
              <a:gd name="connsiteX6" fmla="*/ 282173 w 518355"/>
              <a:gd name="connsiteY6" fmla="*/ 180504 h 407360"/>
              <a:gd name="connsiteX7" fmla="*/ 283830 w 518355"/>
              <a:gd name="connsiteY7" fmla="*/ 189549 h 407360"/>
              <a:gd name="connsiteX8" fmla="*/ 281759 w 518355"/>
              <a:gd name="connsiteY8" fmla="*/ 192426 h 407360"/>
              <a:gd name="connsiteX9" fmla="*/ 274717 w 518355"/>
              <a:gd name="connsiteY9" fmla="*/ 194482 h 407360"/>
              <a:gd name="connsiteX10" fmla="*/ 271403 w 518355"/>
              <a:gd name="connsiteY10" fmla="*/ 192015 h 407360"/>
              <a:gd name="connsiteX11" fmla="*/ 270160 w 518355"/>
              <a:gd name="connsiteY11" fmla="*/ 185437 h 407360"/>
              <a:gd name="connsiteX12" fmla="*/ 266018 w 518355"/>
              <a:gd name="connsiteY12" fmla="*/ 178037 h 407360"/>
              <a:gd name="connsiteX13" fmla="*/ 257318 w 518355"/>
              <a:gd name="connsiteY13" fmla="*/ 175982 h 407360"/>
              <a:gd name="connsiteX14" fmla="*/ 249033 w 518355"/>
              <a:gd name="connsiteY14" fmla="*/ 179271 h 407360"/>
              <a:gd name="connsiteX15" fmla="*/ 245719 w 518355"/>
              <a:gd name="connsiteY15" fmla="*/ 187493 h 407360"/>
              <a:gd name="connsiteX16" fmla="*/ 247376 w 518355"/>
              <a:gd name="connsiteY16" fmla="*/ 195715 h 407360"/>
              <a:gd name="connsiteX17" fmla="*/ 252762 w 518355"/>
              <a:gd name="connsiteY17" fmla="*/ 201882 h 407360"/>
              <a:gd name="connsiteX18" fmla="*/ 270989 w 518355"/>
              <a:gd name="connsiteY18" fmla="*/ 217916 h 407360"/>
              <a:gd name="connsiteX19" fmla="*/ 278031 w 518355"/>
              <a:gd name="connsiteY19" fmla="*/ 225316 h 407360"/>
              <a:gd name="connsiteX20" fmla="*/ 283830 w 518355"/>
              <a:gd name="connsiteY20" fmla="*/ 235183 h 407360"/>
              <a:gd name="connsiteX21" fmla="*/ 285902 w 518355"/>
              <a:gd name="connsiteY21" fmla="*/ 247106 h 407360"/>
              <a:gd name="connsiteX22" fmla="*/ 283002 w 518355"/>
              <a:gd name="connsiteY22" fmla="*/ 259850 h 407360"/>
              <a:gd name="connsiteX23" fmla="*/ 275545 w 518355"/>
              <a:gd name="connsiteY23" fmla="*/ 268073 h 407360"/>
              <a:gd name="connsiteX24" fmla="*/ 263946 w 518355"/>
              <a:gd name="connsiteY24" fmla="*/ 272184 h 407360"/>
              <a:gd name="connsiteX25" fmla="*/ 263946 w 518355"/>
              <a:gd name="connsiteY25" fmla="*/ 281229 h 407360"/>
              <a:gd name="connsiteX26" fmla="*/ 263946 w 518355"/>
              <a:gd name="connsiteY26" fmla="*/ 283695 h 407360"/>
              <a:gd name="connsiteX27" fmla="*/ 261461 w 518355"/>
              <a:gd name="connsiteY27" fmla="*/ 286162 h 407360"/>
              <a:gd name="connsiteX28" fmla="*/ 256490 w 518355"/>
              <a:gd name="connsiteY28" fmla="*/ 286162 h 407360"/>
              <a:gd name="connsiteX29" fmla="*/ 254419 w 518355"/>
              <a:gd name="connsiteY29" fmla="*/ 283695 h 407360"/>
              <a:gd name="connsiteX30" fmla="*/ 254419 w 518355"/>
              <a:gd name="connsiteY30" fmla="*/ 271773 h 407360"/>
              <a:gd name="connsiteX31" fmla="*/ 239505 w 518355"/>
              <a:gd name="connsiteY31" fmla="*/ 263550 h 407360"/>
              <a:gd name="connsiteX32" fmla="*/ 232463 w 518355"/>
              <a:gd name="connsiteY32" fmla="*/ 244228 h 407360"/>
              <a:gd name="connsiteX33" fmla="*/ 234534 w 518355"/>
              <a:gd name="connsiteY33" fmla="*/ 241350 h 407360"/>
              <a:gd name="connsiteX34" fmla="*/ 241991 w 518355"/>
              <a:gd name="connsiteY34" fmla="*/ 238883 h 407360"/>
              <a:gd name="connsiteX35" fmla="*/ 245719 w 518355"/>
              <a:gd name="connsiteY35" fmla="*/ 241350 h 407360"/>
              <a:gd name="connsiteX36" fmla="*/ 247376 w 518355"/>
              <a:gd name="connsiteY36" fmla="*/ 249161 h 407360"/>
              <a:gd name="connsiteX37" fmla="*/ 251933 w 518355"/>
              <a:gd name="connsiteY37" fmla="*/ 257384 h 407360"/>
              <a:gd name="connsiteX38" fmla="*/ 260218 w 518355"/>
              <a:gd name="connsiteY38" fmla="*/ 260673 h 407360"/>
              <a:gd name="connsiteX39" fmla="*/ 269332 w 518355"/>
              <a:gd name="connsiteY39" fmla="*/ 257384 h 407360"/>
              <a:gd name="connsiteX40" fmla="*/ 271817 w 518355"/>
              <a:gd name="connsiteY40" fmla="*/ 248339 h 407360"/>
              <a:gd name="connsiteX41" fmla="*/ 268917 w 518355"/>
              <a:gd name="connsiteY41" fmla="*/ 236828 h 407360"/>
              <a:gd name="connsiteX42" fmla="*/ 260632 w 518355"/>
              <a:gd name="connsiteY42" fmla="*/ 228194 h 407360"/>
              <a:gd name="connsiteX43" fmla="*/ 242405 w 518355"/>
              <a:gd name="connsiteY43" fmla="*/ 212160 h 407360"/>
              <a:gd name="connsiteX44" fmla="*/ 237020 w 518355"/>
              <a:gd name="connsiteY44" fmla="*/ 205993 h 407360"/>
              <a:gd name="connsiteX45" fmla="*/ 233706 w 518355"/>
              <a:gd name="connsiteY45" fmla="*/ 198182 h 407360"/>
              <a:gd name="connsiteX46" fmla="*/ 232463 w 518355"/>
              <a:gd name="connsiteY46" fmla="*/ 188726 h 407360"/>
              <a:gd name="connsiteX47" fmla="*/ 239091 w 518355"/>
              <a:gd name="connsiteY47" fmla="*/ 171459 h 407360"/>
              <a:gd name="connsiteX48" fmla="*/ 254419 w 518355"/>
              <a:gd name="connsiteY48" fmla="*/ 164881 h 407360"/>
              <a:gd name="connsiteX49" fmla="*/ 254419 w 518355"/>
              <a:gd name="connsiteY49" fmla="*/ 153370 h 407360"/>
              <a:gd name="connsiteX50" fmla="*/ 256490 w 518355"/>
              <a:gd name="connsiteY50" fmla="*/ 150903 h 407360"/>
              <a:gd name="connsiteX51" fmla="*/ 259675 w 518355"/>
              <a:gd name="connsiteY51" fmla="*/ 121861 h 407360"/>
              <a:gd name="connsiteX52" fmla="*/ 165047 w 518355"/>
              <a:gd name="connsiteY52" fmla="*/ 216723 h 407360"/>
              <a:gd name="connsiteX53" fmla="*/ 259675 w 518355"/>
              <a:gd name="connsiteY53" fmla="*/ 311174 h 407360"/>
              <a:gd name="connsiteX54" fmla="*/ 354714 w 518355"/>
              <a:gd name="connsiteY54" fmla="*/ 216723 h 407360"/>
              <a:gd name="connsiteX55" fmla="*/ 259675 w 518355"/>
              <a:gd name="connsiteY55" fmla="*/ 121861 h 407360"/>
              <a:gd name="connsiteX56" fmla="*/ 259675 w 518355"/>
              <a:gd name="connsiteY56" fmla="*/ 107488 h 407360"/>
              <a:gd name="connsiteX57" fmla="*/ 369114 w 518355"/>
              <a:gd name="connsiteY57" fmla="*/ 216723 h 407360"/>
              <a:gd name="connsiteX58" fmla="*/ 259675 w 518355"/>
              <a:gd name="connsiteY58" fmla="*/ 325958 h 407360"/>
              <a:gd name="connsiteX59" fmla="*/ 150647 w 518355"/>
              <a:gd name="connsiteY59" fmla="*/ 216723 h 407360"/>
              <a:gd name="connsiteX60" fmla="*/ 259675 w 518355"/>
              <a:gd name="connsiteY60" fmla="*/ 107488 h 407360"/>
              <a:gd name="connsiteX61" fmla="*/ 258977 w 518355"/>
              <a:gd name="connsiteY61" fmla="*/ 79828 h 407360"/>
              <a:gd name="connsiteX62" fmla="*/ 121177 w 518355"/>
              <a:gd name="connsiteY62" fmla="*/ 217628 h 407360"/>
              <a:gd name="connsiteX63" fmla="*/ 258977 w 518355"/>
              <a:gd name="connsiteY63" fmla="*/ 355018 h 407360"/>
              <a:gd name="connsiteX64" fmla="*/ 396777 w 518355"/>
              <a:gd name="connsiteY64" fmla="*/ 217628 h 407360"/>
              <a:gd name="connsiteX65" fmla="*/ 258977 w 518355"/>
              <a:gd name="connsiteY65" fmla="*/ 79828 h 407360"/>
              <a:gd name="connsiteX66" fmla="*/ 258977 w 518355"/>
              <a:gd name="connsiteY66" fmla="*/ 65884 h 407360"/>
              <a:gd name="connsiteX67" fmla="*/ 410721 w 518355"/>
              <a:gd name="connsiteY67" fmla="*/ 217628 h 407360"/>
              <a:gd name="connsiteX68" fmla="*/ 258977 w 518355"/>
              <a:gd name="connsiteY68" fmla="*/ 369372 h 407360"/>
              <a:gd name="connsiteX69" fmla="*/ 107233 w 518355"/>
              <a:gd name="connsiteY69" fmla="*/ 217628 h 407360"/>
              <a:gd name="connsiteX70" fmla="*/ 258977 w 518355"/>
              <a:gd name="connsiteY70" fmla="*/ 65884 h 407360"/>
              <a:gd name="connsiteX71" fmla="*/ 80781 w 518355"/>
              <a:gd name="connsiteY71" fmla="*/ 51284 h 407360"/>
              <a:gd name="connsiteX72" fmla="*/ 77914 w 518355"/>
              <a:gd name="connsiteY72" fmla="*/ 52513 h 407360"/>
              <a:gd name="connsiteX73" fmla="*/ 46786 w 518355"/>
              <a:gd name="connsiteY73" fmla="*/ 340161 h 407360"/>
              <a:gd name="connsiteX74" fmla="*/ 49653 w 518355"/>
              <a:gd name="connsiteY74" fmla="*/ 345078 h 407360"/>
              <a:gd name="connsiteX75" fmla="*/ 29175 w 518355"/>
              <a:gd name="connsiteY75" fmla="*/ 365156 h 407360"/>
              <a:gd name="connsiteX76" fmla="*/ 113956 w 518355"/>
              <a:gd name="connsiteY76" fmla="*/ 391790 h 407360"/>
              <a:gd name="connsiteX77" fmla="*/ 87743 w 518355"/>
              <a:gd name="connsiteY77" fmla="*/ 306971 h 407360"/>
              <a:gd name="connsiteX78" fmla="*/ 73818 w 518355"/>
              <a:gd name="connsiteY78" fmla="*/ 320902 h 407360"/>
              <a:gd name="connsiteX79" fmla="*/ 69313 w 518355"/>
              <a:gd name="connsiteY79" fmla="*/ 311888 h 407360"/>
              <a:gd name="connsiteX80" fmla="*/ 102078 w 518355"/>
              <a:gd name="connsiteY80" fmla="*/ 75459 h 407360"/>
              <a:gd name="connsiteX81" fmla="*/ 101669 w 518355"/>
              <a:gd name="connsiteY81" fmla="*/ 70952 h 407360"/>
              <a:gd name="connsiteX82" fmla="*/ 83238 w 518355"/>
              <a:gd name="connsiteY82" fmla="*/ 52103 h 407360"/>
              <a:gd name="connsiteX83" fmla="*/ 80781 w 518355"/>
              <a:gd name="connsiteY83" fmla="*/ 51284 h 407360"/>
              <a:gd name="connsiteX84" fmla="*/ 80371 w 518355"/>
              <a:gd name="connsiteY84" fmla="*/ 36942 h 407360"/>
              <a:gd name="connsiteX85" fmla="*/ 93477 w 518355"/>
              <a:gd name="connsiteY85" fmla="*/ 42269 h 407360"/>
              <a:gd name="connsiteX86" fmla="*/ 111908 w 518355"/>
              <a:gd name="connsiteY86" fmla="*/ 60708 h 407360"/>
              <a:gd name="connsiteX87" fmla="*/ 112317 w 518355"/>
              <a:gd name="connsiteY87" fmla="*/ 85293 h 407360"/>
              <a:gd name="connsiteX88" fmla="*/ 77504 w 518355"/>
              <a:gd name="connsiteY88" fmla="*/ 296727 h 407360"/>
              <a:gd name="connsiteX89" fmla="*/ 79961 w 518355"/>
              <a:gd name="connsiteY89" fmla="*/ 294268 h 407360"/>
              <a:gd name="connsiteX90" fmla="*/ 91020 w 518355"/>
              <a:gd name="connsiteY90" fmla="*/ 290990 h 407360"/>
              <a:gd name="connsiteX91" fmla="*/ 99621 w 518355"/>
              <a:gd name="connsiteY91" fmla="*/ 297956 h 407360"/>
              <a:gd name="connsiteX92" fmla="*/ 99621 w 518355"/>
              <a:gd name="connsiteY92" fmla="*/ 298366 h 407360"/>
              <a:gd name="connsiteX93" fmla="*/ 128700 w 518355"/>
              <a:gd name="connsiteY93" fmla="*/ 391380 h 407360"/>
              <a:gd name="connsiteX94" fmla="*/ 126243 w 518355"/>
              <a:gd name="connsiteY94" fmla="*/ 404082 h 407360"/>
              <a:gd name="connsiteX95" fmla="*/ 117642 w 518355"/>
              <a:gd name="connsiteY95" fmla="*/ 407360 h 407360"/>
              <a:gd name="connsiteX96" fmla="*/ 113546 w 518355"/>
              <a:gd name="connsiteY96" fmla="*/ 406951 h 407360"/>
              <a:gd name="connsiteX97" fmla="*/ 20574 w 518355"/>
              <a:gd name="connsiteY97" fmla="*/ 377448 h 407360"/>
              <a:gd name="connsiteX98" fmla="*/ 13202 w 518355"/>
              <a:gd name="connsiteY98" fmla="*/ 368434 h 407360"/>
              <a:gd name="connsiteX99" fmla="*/ 16478 w 518355"/>
              <a:gd name="connsiteY99" fmla="*/ 357780 h 407360"/>
              <a:gd name="connsiteX100" fmla="*/ 31632 w 518355"/>
              <a:gd name="connsiteY100" fmla="*/ 342619 h 407360"/>
              <a:gd name="connsiteX101" fmla="*/ 67265 w 518355"/>
              <a:gd name="connsiteY101" fmla="*/ 43088 h 407360"/>
              <a:gd name="connsiteX102" fmla="*/ 80371 w 518355"/>
              <a:gd name="connsiteY102" fmla="*/ 36942 h 407360"/>
              <a:gd name="connsiteX103" fmla="*/ 380514 w 518355"/>
              <a:gd name="connsiteY103" fmla="*/ 15748 h 407360"/>
              <a:gd name="connsiteX104" fmla="*/ 406777 w 518355"/>
              <a:gd name="connsiteY104" fmla="*/ 100126 h 407360"/>
              <a:gd name="connsiteX105" fmla="*/ 423602 w 518355"/>
              <a:gd name="connsiteY105" fmla="*/ 83742 h 407360"/>
              <a:gd name="connsiteX106" fmla="*/ 428526 w 518355"/>
              <a:gd name="connsiteY106" fmla="*/ 90296 h 407360"/>
              <a:gd name="connsiteX107" fmla="*/ 416626 w 518355"/>
              <a:gd name="connsiteY107" fmla="*/ 359814 h 407360"/>
              <a:gd name="connsiteX108" fmla="*/ 416626 w 518355"/>
              <a:gd name="connsiteY108" fmla="*/ 364729 h 407360"/>
              <a:gd name="connsiteX109" fmla="*/ 435502 w 518355"/>
              <a:gd name="connsiteY109" fmla="*/ 383161 h 407360"/>
              <a:gd name="connsiteX110" fmla="*/ 437964 w 518355"/>
              <a:gd name="connsiteY110" fmla="*/ 384390 h 407360"/>
              <a:gd name="connsiteX111" fmla="*/ 440426 w 518355"/>
              <a:gd name="connsiteY111" fmla="*/ 383161 h 407360"/>
              <a:gd name="connsiteX112" fmla="*/ 451096 w 518355"/>
              <a:gd name="connsiteY112" fmla="*/ 65310 h 407360"/>
              <a:gd name="connsiteX113" fmla="*/ 446992 w 518355"/>
              <a:gd name="connsiteY113" fmla="*/ 59985 h 407360"/>
              <a:gd name="connsiteX114" fmla="*/ 465048 w 518355"/>
              <a:gd name="connsiteY114" fmla="*/ 41962 h 407360"/>
              <a:gd name="connsiteX115" fmla="*/ 380925 w 518355"/>
              <a:gd name="connsiteY115" fmla="*/ 1002 h 407360"/>
              <a:gd name="connsiteX116" fmla="*/ 474076 w 518355"/>
              <a:gd name="connsiteY116" fmla="*/ 30084 h 407360"/>
              <a:gd name="connsiteX117" fmla="*/ 481052 w 518355"/>
              <a:gd name="connsiteY117" fmla="*/ 38686 h 407360"/>
              <a:gd name="connsiteX118" fmla="*/ 478179 w 518355"/>
              <a:gd name="connsiteY118" fmla="*/ 49745 h 407360"/>
              <a:gd name="connsiteX119" fmla="*/ 466279 w 518355"/>
              <a:gd name="connsiteY119" fmla="*/ 61214 h 407360"/>
              <a:gd name="connsiteX120" fmla="*/ 451096 w 518355"/>
              <a:gd name="connsiteY120" fmla="*/ 392582 h 407360"/>
              <a:gd name="connsiteX121" fmla="*/ 438375 w 518355"/>
              <a:gd name="connsiteY121" fmla="*/ 398317 h 407360"/>
              <a:gd name="connsiteX122" fmla="*/ 437554 w 518355"/>
              <a:gd name="connsiteY122" fmla="*/ 398317 h 407360"/>
              <a:gd name="connsiteX123" fmla="*/ 425243 w 518355"/>
              <a:gd name="connsiteY123" fmla="*/ 392992 h 407360"/>
              <a:gd name="connsiteX124" fmla="*/ 406777 w 518355"/>
              <a:gd name="connsiteY124" fmla="*/ 374969 h 407360"/>
              <a:gd name="connsiteX125" fmla="*/ 405956 w 518355"/>
              <a:gd name="connsiteY125" fmla="*/ 349984 h 407360"/>
              <a:gd name="connsiteX126" fmla="*/ 421960 w 518355"/>
              <a:gd name="connsiteY126" fmla="*/ 105451 h 407360"/>
              <a:gd name="connsiteX127" fmla="*/ 414164 w 518355"/>
              <a:gd name="connsiteY127" fmla="*/ 113233 h 407360"/>
              <a:gd name="connsiteX128" fmla="*/ 403494 w 518355"/>
              <a:gd name="connsiteY128" fmla="*/ 116510 h 407360"/>
              <a:gd name="connsiteX129" fmla="*/ 394877 w 518355"/>
              <a:gd name="connsiteY129" fmla="*/ 109547 h 407360"/>
              <a:gd name="connsiteX130" fmla="*/ 394467 w 518355"/>
              <a:gd name="connsiteY130" fmla="*/ 108728 h 407360"/>
              <a:gd name="connsiteX131" fmla="*/ 365331 w 518355"/>
              <a:gd name="connsiteY131" fmla="*/ 16157 h 407360"/>
              <a:gd name="connsiteX132" fmla="*/ 368204 w 518355"/>
              <a:gd name="connsiteY132" fmla="*/ 3460 h 407360"/>
              <a:gd name="connsiteX133" fmla="*/ 380925 w 518355"/>
              <a:gd name="connsiteY133" fmla="*/ 1002 h 40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518355" h="407360">
                <a:moveTo>
                  <a:pt x="256490" y="150903"/>
                </a:moveTo>
                <a:lnTo>
                  <a:pt x="261461" y="150903"/>
                </a:lnTo>
                <a:cubicBezTo>
                  <a:pt x="262704" y="150903"/>
                  <a:pt x="263946" y="152137"/>
                  <a:pt x="263946" y="153370"/>
                </a:cubicBezTo>
                <a:lnTo>
                  <a:pt x="263946" y="165292"/>
                </a:lnTo>
                <a:cubicBezTo>
                  <a:pt x="266432" y="165292"/>
                  <a:pt x="268503" y="166115"/>
                  <a:pt x="270989" y="166937"/>
                </a:cubicBezTo>
                <a:cubicBezTo>
                  <a:pt x="273474" y="168170"/>
                  <a:pt x="275545" y="169815"/>
                  <a:pt x="277617" y="172282"/>
                </a:cubicBezTo>
                <a:cubicBezTo>
                  <a:pt x="279274" y="174337"/>
                  <a:pt x="280931" y="177215"/>
                  <a:pt x="282173" y="180504"/>
                </a:cubicBezTo>
                <a:cubicBezTo>
                  <a:pt x="283002" y="182971"/>
                  <a:pt x="283830" y="186260"/>
                  <a:pt x="283830" y="189549"/>
                </a:cubicBezTo>
                <a:cubicBezTo>
                  <a:pt x="284245" y="190782"/>
                  <a:pt x="283416" y="192015"/>
                  <a:pt x="281759" y="192426"/>
                </a:cubicBezTo>
                <a:lnTo>
                  <a:pt x="274717" y="194482"/>
                </a:lnTo>
                <a:cubicBezTo>
                  <a:pt x="273060" y="194893"/>
                  <a:pt x="271403" y="193660"/>
                  <a:pt x="271403" y="192015"/>
                </a:cubicBezTo>
                <a:cubicBezTo>
                  <a:pt x="270989" y="189549"/>
                  <a:pt x="270574" y="187493"/>
                  <a:pt x="270160" y="185437"/>
                </a:cubicBezTo>
                <a:cubicBezTo>
                  <a:pt x="269332" y="182560"/>
                  <a:pt x="268089" y="180093"/>
                  <a:pt x="266018" y="178037"/>
                </a:cubicBezTo>
                <a:cubicBezTo>
                  <a:pt x="263946" y="176393"/>
                  <a:pt x="261461" y="175571"/>
                  <a:pt x="257318" y="175982"/>
                </a:cubicBezTo>
                <a:cubicBezTo>
                  <a:pt x="253590" y="176393"/>
                  <a:pt x="250690" y="177215"/>
                  <a:pt x="249033" y="179271"/>
                </a:cubicBezTo>
                <a:cubicBezTo>
                  <a:pt x="246548" y="180915"/>
                  <a:pt x="245719" y="183793"/>
                  <a:pt x="245719" y="187493"/>
                </a:cubicBezTo>
                <a:cubicBezTo>
                  <a:pt x="245719" y="190782"/>
                  <a:pt x="246134" y="193249"/>
                  <a:pt x="247376" y="195715"/>
                </a:cubicBezTo>
                <a:cubicBezTo>
                  <a:pt x="248205" y="197360"/>
                  <a:pt x="250276" y="199416"/>
                  <a:pt x="252762" y="201882"/>
                </a:cubicBezTo>
                <a:lnTo>
                  <a:pt x="270989" y="217916"/>
                </a:lnTo>
                <a:cubicBezTo>
                  <a:pt x="273060" y="219972"/>
                  <a:pt x="275545" y="222438"/>
                  <a:pt x="278031" y="225316"/>
                </a:cubicBezTo>
                <a:cubicBezTo>
                  <a:pt x="280102" y="228194"/>
                  <a:pt x="282588" y="231894"/>
                  <a:pt x="283830" y="235183"/>
                </a:cubicBezTo>
                <a:cubicBezTo>
                  <a:pt x="285073" y="238883"/>
                  <a:pt x="285902" y="242583"/>
                  <a:pt x="285902" y="247106"/>
                </a:cubicBezTo>
                <a:cubicBezTo>
                  <a:pt x="285902" y="252039"/>
                  <a:pt x="285073" y="256150"/>
                  <a:pt x="283002" y="259850"/>
                </a:cubicBezTo>
                <a:cubicBezTo>
                  <a:pt x="281345" y="263550"/>
                  <a:pt x="278859" y="266017"/>
                  <a:pt x="275545" y="268073"/>
                </a:cubicBezTo>
                <a:cubicBezTo>
                  <a:pt x="272231" y="270540"/>
                  <a:pt x="268503" y="271773"/>
                  <a:pt x="263946" y="272184"/>
                </a:cubicBezTo>
                <a:lnTo>
                  <a:pt x="263946" y="281229"/>
                </a:lnTo>
                <a:lnTo>
                  <a:pt x="263946" y="283695"/>
                </a:lnTo>
                <a:cubicBezTo>
                  <a:pt x="263946" y="284929"/>
                  <a:pt x="262704" y="286162"/>
                  <a:pt x="261461" y="286162"/>
                </a:cubicBezTo>
                <a:lnTo>
                  <a:pt x="256490" y="286162"/>
                </a:lnTo>
                <a:cubicBezTo>
                  <a:pt x="255661" y="286162"/>
                  <a:pt x="254419" y="284929"/>
                  <a:pt x="254419" y="283695"/>
                </a:cubicBezTo>
                <a:lnTo>
                  <a:pt x="254419" y="271773"/>
                </a:lnTo>
                <a:cubicBezTo>
                  <a:pt x="247791" y="270540"/>
                  <a:pt x="242819" y="268073"/>
                  <a:pt x="239505" y="263550"/>
                </a:cubicBezTo>
                <a:cubicBezTo>
                  <a:pt x="235363" y="258617"/>
                  <a:pt x="232877" y="251628"/>
                  <a:pt x="232463" y="244228"/>
                </a:cubicBezTo>
                <a:cubicBezTo>
                  <a:pt x="232049" y="242583"/>
                  <a:pt x="232877" y="241350"/>
                  <a:pt x="234534" y="241350"/>
                </a:cubicBezTo>
                <a:lnTo>
                  <a:pt x="241991" y="238883"/>
                </a:lnTo>
                <a:cubicBezTo>
                  <a:pt x="243648" y="238472"/>
                  <a:pt x="245305" y="239705"/>
                  <a:pt x="245719" y="241350"/>
                </a:cubicBezTo>
                <a:cubicBezTo>
                  <a:pt x="246134" y="243817"/>
                  <a:pt x="246548" y="246694"/>
                  <a:pt x="247376" y="249161"/>
                </a:cubicBezTo>
                <a:cubicBezTo>
                  <a:pt x="248205" y="252450"/>
                  <a:pt x="249448" y="255328"/>
                  <a:pt x="251933" y="257384"/>
                </a:cubicBezTo>
                <a:cubicBezTo>
                  <a:pt x="253590" y="259850"/>
                  <a:pt x="256490" y="260673"/>
                  <a:pt x="260218" y="260673"/>
                </a:cubicBezTo>
                <a:cubicBezTo>
                  <a:pt x="264361" y="260673"/>
                  <a:pt x="267260" y="259850"/>
                  <a:pt x="269332" y="257384"/>
                </a:cubicBezTo>
                <a:cubicBezTo>
                  <a:pt x="270989" y="255328"/>
                  <a:pt x="271817" y="252450"/>
                  <a:pt x="271817" y="248339"/>
                </a:cubicBezTo>
                <a:cubicBezTo>
                  <a:pt x="271817" y="243406"/>
                  <a:pt x="270989" y="240117"/>
                  <a:pt x="268917" y="236828"/>
                </a:cubicBezTo>
                <a:cubicBezTo>
                  <a:pt x="266846" y="233950"/>
                  <a:pt x="263946" y="230661"/>
                  <a:pt x="260632" y="228194"/>
                </a:cubicBezTo>
                <a:lnTo>
                  <a:pt x="242405" y="212160"/>
                </a:lnTo>
                <a:cubicBezTo>
                  <a:pt x="240334" y="210516"/>
                  <a:pt x="238677" y="208049"/>
                  <a:pt x="237020" y="205993"/>
                </a:cubicBezTo>
                <a:cubicBezTo>
                  <a:pt x="235363" y="203527"/>
                  <a:pt x="234120" y="201060"/>
                  <a:pt x="233706" y="198182"/>
                </a:cubicBezTo>
                <a:cubicBezTo>
                  <a:pt x="232877" y="195715"/>
                  <a:pt x="232463" y="192426"/>
                  <a:pt x="232463" y="188726"/>
                </a:cubicBezTo>
                <a:cubicBezTo>
                  <a:pt x="232463" y="181326"/>
                  <a:pt x="234534" y="175571"/>
                  <a:pt x="239091" y="171459"/>
                </a:cubicBezTo>
                <a:cubicBezTo>
                  <a:pt x="242405" y="167348"/>
                  <a:pt x="247791" y="165292"/>
                  <a:pt x="254419" y="164881"/>
                </a:cubicBezTo>
                <a:lnTo>
                  <a:pt x="254419" y="153370"/>
                </a:lnTo>
                <a:cubicBezTo>
                  <a:pt x="254419" y="152137"/>
                  <a:pt x="255661" y="150903"/>
                  <a:pt x="256490" y="150903"/>
                </a:cubicBezTo>
                <a:close/>
                <a:moveTo>
                  <a:pt x="259675" y="121861"/>
                </a:moveTo>
                <a:cubicBezTo>
                  <a:pt x="207424" y="121861"/>
                  <a:pt x="165047" y="164159"/>
                  <a:pt x="165047" y="216723"/>
                </a:cubicBezTo>
                <a:cubicBezTo>
                  <a:pt x="165047" y="268876"/>
                  <a:pt x="207424" y="311174"/>
                  <a:pt x="259675" y="311174"/>
                </a:cubicBezTo>
                <a:cubicBezTo>
                  <a:pt x="312337" y="311174"/>
                  <a:pt x="354714" y="268876"/>
                  <a:pt x="354714" y="216723"/>
                </a:cubicBezTo>
                <a:cubicBezTo>
                  <a:pt x="354714" y="164159"/>
                  <a:pt x="312337" y="121861"/>
                  <a:pt x="259675" y="121861"/>
                </a:cubicBezTo>
                <a:close/>
                <a:moveTo>
                  <a:pt x="259675" y="107488"/>
                </a:moveTo>
                <a:cubicBezTo>
                  <a:pt x="320154" y="107488"/>
                  <a:pt x="369114" y="156356"/>
                  <a:pt x="369114" y="216723"/>
                </a:cubicBezTo>
                <a:cubicBezTo>
                  <a:pt x="369114" y="276679"/>
                  <a:pt x="320154" y="325958"/>
                  <a:pt x="259675" y="325958"/>
                </a:cubicBezTo>
                <a:cubicBezTo>
                  <a:pt x="199606" y="325958"/>
                  <a:pt x="150647" y="276679"/>
                  <a:pt x="150647" y="216723"/>
                </a:cubicBezTo>
                <a:cubicBezTo>
                  <a:pt x="150647" y="156356"/>
                  <a:pt x="199606" y="107488"/>
                  <a:pt x="259675" y="107488"/>
                </a:cubicBezTo>
                <a:close/>
                <a:moveTo>
                  <a:pt x="258977" y="79828"/>
                </a:moveTo>
                <a:cubicBezTo>
                  <a:pt x="183105" y="79828"/>
                  <a:pt x="121177" y="141756"/>
                  <a:pt x="121177" y="217628"/>
                </a:cubicBezTo>
                <a:cubicBezTo>
                  <a:pt x="121177" y="293500"/>
                  <a:pt x="183105" y="355018"/>
                  <a:pt x="258977" y="355018"/>
                </a:cubicBezTo>
                <a:cubicBezTo>
                  <a:pt x="334849" y="355018"/>
                  <a:pt x="396777" y="293500"/>
                  <a:pt x="396777" y="217628"/>
                </a:cubicBezTo>
                <a:cubicBezTo>
                  <a:pt x="396777" y="141756"/>
                  <a:pt x="334849" y="79828"/>
                  <a:pt x="258977" y="79828"/>
                </a:cubicBezTo>
                <a:close/>
                <a:moveTo>
                  <a:pt x="258977" y="65884"/>
                </a:moveTo>
                <a:cubicBezTo>
                  <a:pt x="343051" y="65884"/>
                  <a:pt x="410721" y="133964"/>
                  <a:pt x="410721" y="217628"/>
                </a:cubicBezTo>
                <a:cubicBezTo>
                  <a:pt x="410721" y="301292"/>
                  <a:pt x="343051" y="369372"/>
                  <a:pt x="258977" y="369372"/>
                </a:cubicBezTo>
                <a:cubicBezTo>
                  <a:pt x="175313" y="369372"/>
                  <a:pt x="107233" y="301292"/>
                  <a:pt x="107233" y="217628"/>
                </a:cubicBezTo>
                <a:cubicBezTo>
                  <a:pt x="107233" y="133964"/>
                  <a:pt x="175313" y="65884"/>
                  <a:pt x="258977" y="65884"/>
                </a:cubicBezTo>
                <a:close/>
                <a:moveTo>
                  <a:pt x="80781" y="51284"/>
                </a:moveTo>
                <a:cubicBezTo>
                  <a:pt x="79961" y="51284"/>
                  <a:pt x="78733" y="51284"/>
                  <a:pt x="77914" y="52513"/>
                </a:cubicBezTo>
                <a:cubicBezTo>
                  <a:pt x="6649" y="130366"/>
                  <a:pt x="-6458" y="249195"/>
                  <a:pt x="46786" y="340161"/>
                </a:cubicBezTo>
                <a:lnTo>
                  <a:pt x="49653" y="345078"/>
                </a:lnTo>
                <a:lnTo>
                  <a:pt x="29175" y="365156"/>
                </a:lnTo>
                <a:lnTo>
                  <a:pt x="113956" y="391790"/>
                </a:lnTo>
                <a:lnTo>
                  <a:pt x="87743" y="306971"/>
                </a:lnTo>
                <a:lnTo>
                  <a:pt x="73818" y="320902"/>
                </a:lnTo>
                <a:lnTo>
                  <a:pt x="69313" y="311888"/>
                </a:lnTo>
                <a:cubicBezTo>
                  <a:pt x="30813" y="234444"/>
                  <a:pt x="43919" y="139791"/>
                  <a:pt x="102078" y="75459"/>
                </a:cubicBezTo>
                <a:cubicBezTo>
                  <a:pt x="103307" y="74230"/>
                  <a:pt x="103307" y="72181"/>
                  <a:pt x="101669" y="70952"/>
                </a:cubicBezTo>
                <a:lnTo>
                  <a:pt x="83238" y="52103"/>
                </a:lnTo>
                <a:cubicBezTo>
                  <a:pt x="82419" y="51284"/>
                  <a:pt x="81190" y="51284"/>
                  <a:pt x="80781" y="51284"/>
                </a:cubicBezTo>
                <a:close/>
                <a:moveTo>
                  <a:pt x="80371" y="36942"/>
                </a:moveTo>
                <a:cubicBezTo>
                  <a:pt x="85286" y="36942"/>
                  <a:pt x="89791" y="38991"/>
                  <a:pt x="93477" y="42269"/>
                </a:cubicBezTo>
                <a:lnTo>
                  <a:pt x="111908" y="60708"/>
                </a:lnTo>
                <a:cubicBezTo>
                  <a:pt x="118461" y="67264"/>
                  <a:pt x="118870" y="78327"/>
                  <a:pt x="112317" y="85293"/>
                </a:cubicBezTo>
                <a:cubicBezTo>
                  <a:pt x="60712" y="142249"/>
                  <a:pt x="47196" y="226249"/>
                  <a:pt x="77504" y="296727"/>
                </a:cubicBezTo>
                <a:lnTo>
                  <a:pt x="79961" y="294268"/>
                </a:lnTo>
                <a:cubicBezTo>
                  <a:pt x="82828" y="291400"/>
                  <a:pt x="86924" y="290171"/>
                  <a:pt x="91020" y="290990"/>
                </a:cubicBezTo>
                <a:cubicBezTo>
                  <a:pt x="95115" y="291810"/>
                  <a:pt x="97982" y="294268"/>
                  <a:pt x="99621" y="297956"/>
                </a:cubicBezTo>
                <a:lnTo>
                  <a:pt x="99621" y="298366"/>
                </a:lnTo>
                <a:lnTo>
                  <a:pt x="128700" y="391380"/>
                </a:lnTo>
                <a:cubicBezTo>
                  <a:pt x="130338" y="395478"/>
                  <a:pt x="129519" y="400804"/>
                  <a:pt x="126243" y="404082"/>
                </a:cubicBezTo>
                <a:cubicBezTo>
                  <a:pt x="123785" y="406131"/>
                  <a:pt x="120509" y="407360"/>
                  <a:pt x="117642" y="407360"/>
                </a:cubicBezTo>
                <a:cubicBezTo>
                  <a:pt x="116003" y="407360"/>
                  <a:pt x="114775" y="406951"/>
                  <a:pt x="113546" y="406951"/>
                </a:cubicBezTo>
                <a:lnTo>
                  <a:pt x="20574" y="377448"/>
                </a:lnTo>
                <a:cubicBezTo>
                  <a:pt x="16888" y="375809"/>
                  <a:pt x="14021" y="372531"/>
                  <a:pt x="13202" y="368434"/>
                </a:cubicBezTo>
                <a:cubicBezTo>
                  <a:pt x="12383" y="364746"/>
                  <a:pt x="13611" y="361058"/>
                  <a:pt x="16478" y="357780"/>
                </a:cubicBezTo>
                <a:lnTo>
                  <a:pt x="31632" y="342619"/>
                </a:lnTo>
                <a:cubicBezTo>
                  <a:pt x="-21202" y="246737"/>
                  <a:pt x="-6867" y="124220"/>
                  <a:pt x="67265" y="43088"/>
                </a:cubicBezTo>
                <a:cubicBezTo>
                  <a:pt x="70541" y="39401"/>
                  <a:pt x="75456" y="36942"/>
                  <a:pt x="80371" y="36942"/>
                </a:cubicBezTo>
                <a:close/>
                <a:moveTo>
                  <a:pt x="380514" y="15748"/>
                </a:moveTo>
                <a:lnTo>
                  <a:pt x="406777" y="100126"/>
                </a:lnTo>
                <a:lnTo>
                  <a:pt x="423602" y="83742"/>
                </a:lnTo>
                <a:lnTo>
                  <a:pt x="428526" y="90296"/>
                </a:lnTo>
                <a:cubicBezTo>
                  <a:pt x="490080" y="171397"/>
                  <a:pt x="484745" y="284447"/>
                  <a:pt x="416626" y="359814"/>
                </a:cubicBezTo>
                <a:cubicBezTo>
                  <a:pt x="415395" y="361452"/>
                  <a:pt x="415395" y="363091"/>
                  <a:pt x="416626" y="364729"/>
                </a:cubicBezTo>
                <a:lnTo>
                  <a:pt x="435502" y="383161"/>
                </a:lnTo>
                <a:cubicBezTo>
                  <a:pt x="436323" y="383981"/>
                  <a:pt x="437554" y="384390"/>
                  <a:pt x="437964" y="384390"/>
                </a:cubicBezTo>
                <a:cubicBezTo>
                  <a:pt x="438785" y="384390"/>
                  <a:pt x="439606" y="383981"/>
                  <a:pt x="440426" y="383161"/>
                </a:cubicBezTo>
                <a:cubicBezTo>
                  <a:pt x="521267" y="294687"/>
                  <a:pt x="525781" y="158290"/>
                  <a:pt x="451096" y="65310"/>
                </a:cubicBezTo>
                <a:lnTo>
                  <a:pt x="446992" y="59985"/>
                </a:lnTo>
                <a:lnTo>
                  <a:pt x="465048" y="41962"/>
                </a:lnTo>
                <a:close/>
                <a:moveTo>
                  <a:pt x="380925" y="1002"/>
                </a:moveTo>
                <a:lnTo>
                  <a:pt x="474076" y="30084"/>
                </a:lnTo>
                <a:cubicBezTo>
                  <a:pt x="477769" y="31313"/>
                  <a:pt x="480641" y="34999"/>
                  <a:pt x="481052" y="38686"/>
                </a:cubicBezTo>
                <a:cubicBezTo>
                  <a:pt x="482283" y="42782"/>
                  <a:pt x="481052" y="46468"/>
                  <a:pt x="478179" y="49745"/>
                </a:cubicBezTo>
                <a:lnTo>
                  <a:pt x="466279" y="61214"/>
                </a:lnTo>
                <a:cubicBezTo>
                  <a:pt x="540964" y="159518"/>
                  <a:pt x="534808" y="300831"/>
                  <a:pt x="451096" y="392582"/>
                </a:cubicBezTo>
                <a:cubicBezTo>
                  <a:pt x="447813" y="396269"/>
                  <a:pt x="443299" y="398317"/>
                  <a:pt x="438375" y="398317"/>
                </a:cubicBezTo>
                <a:cubicBezTo>
                  <a:pt x="437964" y="398317"/>
                  <a:pt x="437964" y="398317"/>
                  <a:pt x="437554" y="398317"/>
                </a:cubicBezTo>
                <a:cubicBezTo>
                  <a:pt x="433040" y="398317"/>
                  <a:pt x="428526" y="396269"/>
                  <a:pt x="425243" y="392992"/>
                </a:cubicBezTo>
                <a:lnTo>
                  <a:pt x="406777" y="374969"/>
                </a:lnTo>
                <a:cubicBezTo>
                  <a:pt x="399801" y="368006"/>
                  <a:pt x="399801" y="357356"/>
                  <a:pt x="405956" y="349984"/>
                </a:cubicBezTo>
                <a:cubicBezTo>
                  <a:pt x="467920" y="281990"/>
                  <a:pt x="474076" y="180408"/>
                  <a:pt x="421960" y="105451"/>
                </a:cubicBezTo>
                <a:lnTo>
                  <a:pt x="414164" y="113233"/>
                </a:lnTo>
                <a:cubicBezTo>
                  <a:pt x="411291" y="116101"/>
                  <a:pt x="407188" y="117329"/>
                  <a:pt x="403494" y="116510"/>
                </a:cubicBezTo>
                <a:cubicBezTo>
                  <a:pt x="399391" y="115691"/>
                  <a:pt x="396518" y="112824"/>
                  <a:pt x="394877" y="109547"/>
                </a:cubicBezTo>
                <a:lnTo>
                  <a:pt x="394467" y="108728"/>
                </a:lnTo>
                <a:lnTo>
                  <a:pt x="365331" y="16157"/>
                </a:lnTo>
                <a:cubicBezTo>
                  <a:pt x="364100" y="11652"/>
                  <a:pt x="364921" y="6737"/>
                  <a:pt x="368204" y="3460"/>
                </a:cubicBezTo>
                <a:cubicBezTo>
                  <a:pt x="371487" y="183"/>
                  <a:pt x="376411" y="-1046"/>
                  <a:pt x="380925" y="1002"/>
                </a:cubicBezTo>
                <a:close/>
              </a:path>
            </a:pathLst>
          </a:custGeom>
          <a:solidFill>
            <a:srgbClr val="00A664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36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srgbClr val="747A94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933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17FC74B-9F85-4699-9C2E-748605A583E8}"/>
              </a:ext>
            </a:extLst>
          </p:cNvPr>
          <p:cNvSpPr/>
          <p:nvPr/>
        </p:nvSpPr>
        <p:spPr>
          <a:xfrm>
            <a:off x="7854214" y="0"/>
            <a:ext cx="4337787" cy="6858000"/>
          </a:xfrm>
          <a:prstGeom prst="rect">
            <a:avLst/>
          </a:prstGeom>
          <a:solidFill>
            <a:srgbClr val="EA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5743BF6-A8FF-034C-BC06-E80E1D920E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1636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5743BF6-A8FF-034C-BC06-E80E1D920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1636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0EA767AD-32FE-A84A-9F55-747C32B34144}"/>
              </a:ext>
            </a:extLst>
          </p:cNvPr>
          <p:cNvSpPr/>
          <p:nvPr/>
        </p:nvSpPr>
        <p:spPr>
          <a:xfrm flipH="1">
            <a:off x="0" y="-1"/>
            <a:ext cx="12192000" cy="6858000"/>
          </a:xfrm>
          <a:prstGeom prst="rect">
            <a:avLst/>
          </a:prstGeom>
          <a:solidFill>
            <a:srgbClr val="17A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7DDB6F-E641-F44F-B05F-B1D8EE471A0E}"/>
              </a:ext>
            </a:extLst>
          </p:cNvPr>
          <p:cNvSpPr txBox="1"/>
          <p:nvPr/>
        </p:nvSpPr>
        <p:spPr>
          <a:xfrm>
            <a:off x="-93184" y="251060"/>
            <a:ext cx="59796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VEHICLE FINANCE OPTIONS</a:t>
            </a: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930A4AEF-4B3A-5C6E-3CA0-5FFDE914DE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2022" y="1781395"/>
            <a:ext cx="4595778" cy="470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9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Background">
  <a:themeElements>
    <a:clrScheme name="White Background 13">
      <a:dk1>
        <a:srgbClr val="000000"/>
      </a:dk1>
      <a:lt1>
        <a:srgbClr val="FFFFFF"/>
      </a:lt1>
      <a:dk2>
        <a:srgbClr val="00A664"/>
      </a:dk2>
      <a:lt2>
        <a:srgbClr val="808080"/>
      </a:lt2>
      <a:accent1>
        <a:srgbClr val="00A664"/>
      </a:accent1>
      <a:accent2>
        <a:srgbClr val="EFD59D"/>
      </a:accent2>
      <a:accent3>
        <a:srgbClr val="FFFFFF"/>
      </a:accent3>
      <a:accent4>
        <a:srgbClr val="000000"/>
      </a:accent4>
      <a:accent5>
        <a:srgbClr val="AAD0B8"/>
      </a:accent5>
      <a:accent6>
        <a:srgbClr val="D9C18E"/>
      </a:accent6>
      <a:hlink>
        <a:srgbClr val="286390"/>
      </a:hlink>
      <a:folHlink>
        <a:srgbClr val="E4D8C6"/>
      </a:folHlink>
    </a:clrScheme>
    <a:fontScheme name="White 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eaLnBrk="1" hangingPunct="1">
          <a:spcBef>
            <a:spcPct val="40000"/>
          </a:spcBef>
          <a:defRPr kern="0" dirty="0" smtClean="0"/>
        </a:defPPr>
      </a:lstStyle>
    </a:spDef>
  </a:objectDefaults>
  <a:extraClrSchemeLst>
    <a:extraClrScheme>
      <a:clrScheme name="White Backgroun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Backgroun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Background 13">
        <a:dk1>
          <a:srgbClr val="000000"/>
        </a:dk1>
        <a:lt1>
          <a:srgbClr val="FFFFFF"/>
        </a:lt1>
        <a:dk2>
          <a:srgbClr val="00A664"/>
        </a:dk2>
        <a:lt2>
          <a:srgbClr val="808080"/>
        </a:lt2>
        <a:accent1>
          <a:srgbClr val="00A664"/>
        </a:accent1>
        <a:accent2>
          <a:srgbClr val="EFD59D"/>
        </a:accent2>
        <a:accent3>
          <a:srgbClr val="FFFFFF"/>
        </a:accent3>
        <a:accent4>
          <a:srgbClr val="000000"/>
        </a:accent4>
        <a:accent5>
          <a:srgbClr val="AAD0B8"/>
        </a:accent5>
        <a:accent6>
          <a:srgbClr val="D9C18E"/>
        </a:accent6>
        <a:hlink>
          <a:srgbClr val="286390"/>
        </a:hlink>
        <a:folHlink>
          <a:srgbClr val="E4D8C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rgbClr val="565A5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EFM FY 2023">
      <a:dk1>
        <a:srgbClr val="04A664"/>
      </a:dk1>
      <a:lt1>
        <a:srgbClr val="F2EFEE"/>
      </a:lt1>
      <a:dk2>
        <a:srgbClr val="005558"/>
      </a:dk2>
      <a:lt2>
        <a:srgbClr val="FFFFFF"/>
      </a:lt2>
      <a:accent1>
        <a:srgbClr val="797979"/>
      </a:accent1>
      <a:accent2>
        <a:srgbClr val="00383A"/>
      </a:accent2>
      <a:accent3>
        <a:srgbClr val="EE964B"/>
      </a:accent3>
      <a:accent4>
        <a:srgbClr val="1E91D6"/>
      </a:accent4>
      <a:accent5>
        <a:srgbClr val="F3D35E"/>
      </a:accent5>
      <a:accent6>
        <a:srgbClr val="BFBFBF"/>
      </a:accent6>
      <a:hlink>
        <a:srgbClr val="5AA740"/>
      </a:hlink>
      <a:folHlink>
        <a:srgbClr val="00555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æ¸¸ã‚´ã‚·ãƒƒã‚¯ Light"/>
        <a:font script="Hang" typeface="ë§‘ì€ ê³ ë”•"/>
        <a:font script="Hans" typeface="ç­‰çº¿ Light"/>
        <a:font script="Hant" typeface="æ–°ç´°æ˜Žé«”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æ¸¸ã‚´ã‚·ãƒƒã‚¯"/>
        <a:font script="Hang" typeface="ë§‘ì€ ê³ ë”•"/>
        <a:font script="Hans" typeface="ç­‰çº¿"/>
        <a:font script="Hant" typeface="æ–°ç´°æ˜Žé«”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108</TotalTime>
  <Words>1861</Words>
  <Application>Microsoft Office PowerPoint</Application>
  <PresentationFormat>Widescreen</PresentationFormat>
  <Paragraphs>408</Paragraphs>
  <Slides>3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3" baseType="lpstr">
      <vt:lpstr>Arial</vt:lpstr>
      <vt:lpstr>Arial Black</vt:lpstr>
      <vt:lpstr>Arial MT Std</vt:lpstr>
      <vt:lpstr>Arial MT Std Cond</vt:lpstr>
      <vt:lpstr>Arial Narrow</vt:lpstr>
      <vt:lpstr>Calibri</vt:lpstr>
      <vt:lpstr>Calibri Light</vt:lpstr>
      <vt:lpstr>Georgia</vt:lpstr>
      <vt:lpstr>Poppins</vt:lpstr>
      <vt:lpstr>Poppins Light</vt:lpstr>
      <vt:lpstr>Symbol</vt:lpstr>
      <vt:lpstr>Wingdings</vt:lpstr>
      <vt:lpstr>ヒラギノ角ゴ Pro W3</vt:lpstr>
      <vt:lpstr>1_Office Theme</vt:lpstr>
      <vt:lpstr>White Background</vt:lpstr>
      <vt:lpstr>Custom Design</vt:lpstr>
      <vt:lpstr>Office Theme</vt:lpstr>
      <vt:lpstr>5_Office Theme</vt:lpstr>
      <vt:lpstr>2_Office Theme</vt:lpstr>
      <vt:lpstr>6_Office Theme</vt:lpstr>
      <vt:lpstr>8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ckus, Billy K</dc:creator>
  <cp:lastModifiedBy>Seth Larson</cp:lastModifiedBy>
  <cp:revision>38</cp:revision>
  <dcterms:created xsi:type="dcterms:W3CDTF">2022-07-18T12:52:30Z</dcterms:created>
  <dcterms:modified xsi:type="dcterms:W3CDTF">2025-02-20T16:26:15Z</dcterms:modified>
</cp:coreProperties>
</file>